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8" r:id="rId4"/>
  </p:sldMasterIdLst>
  <p:notesMasterIdLst>
    <p:notesMasterId r:id="rId11"/>
  </p:notesMasterIdLst>
  <p:handoutMasterIdLst>
    <p:handoutMasterId r:id="rId12"/>
  </p:handoutMasterIdLst>
  <p:sldIdLst>
    <p:sldId id="282" r:id="rId5"/>
    <p:sldId id="500" r:id="rId6"/>
    <p:sldId id="512" r:id="rId7"/>
    <p:sldId id="993" r:id="rId8"/>
    <p:sldId id="994" r:id="rId9"/>
    <p:sldId id="459" r:id="rId10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6C234D8-73BA-4E4B-8319-2158404DF25F}">
          <p14:sldIdLst>
            <p14:sldId id="282"/>
            <p14:sldId id="500"/>
            <p14:sldId id="512"/>
            <p14:sldId id="993"/>
            <p14:sldId id="994"/>
            <p14:sldId id="45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247">
          <p15:clr>
            <a:srgbClr val="A4A3A4"/>
          </p15:clr>
        </p15:guide>
        <p15:guide id="2" orient="horz" pos="1723">
          <p15:clr>
            <a:srgbClr val="A4A3A4"/>
          </p15:clr>
        </p15:guide>
        <p15:guide id="3" orient="horz" pos="2523">
          <p15:clr>
            <a:srgbClr val="A4A3A4"/>
          </p15:clr>
        </p15:guide>
        <p15:guide id="4" pos="3840">
          <p15:clr>
            <a:srgbClr val="A4A3A4"/>
          </p15:clr>
        </p15:guide>
        <p15:guide id="5" orient="horz" pos="3911">
          <p15:clr>
            <a:srgbClr val="A4A3A4"/>
          </p15:clr>
        </p15:guide>
        <p15:guide id="6" orient="horz" pos="1252">
          <p15:clr>
            <a:srgbClr val="A4A3A4"/>
          </p15:clr>
        </p15:guide>
        <p15:guide id="7" orient="horz" pos="2804">
          <p15:clr>
            <a:srgbClr val="A4A3A4"/>
          </p15:clr>
        </p15:guide>
        <p15:guide id="8" pos="4375">
          <p15:clr>
            <a:srgbClr val="A4A3A4"/>
          </p15:clr>
        </p15:guide>
        <p15:guide id="9" pos="283">
          <p15:clr>
            <a:srgbClr val="A4A3A4"/>
          </p15:clr>
        </p15:guide>
        <p15:guide id="10" pos="33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JLUNI,CHERYL (K-USA,ex1)" initials="A(" lastIdx="12" clrIdx="0">
    <p:extLst/>
  </p:cmAuthor>
  <p:cmAuthor id="2" name="CONOVER,JOEL (K-SantaRosa,ex1)" initials="C(" lastIdx="16" clrIdx="1">
    <p:extLst/>
  </p:cmAuthor>
  <p:cmAuthor id="3" name="FAUBERT,NICOLE (K-Canada,ex1)" initials="F(" lastIdx="12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D9D9D9"/>
    <a:srgbClr val="EEEEEE"/>
    <a:srgbClr val="F7F7F7"/>
    <a:srgbClr val="F4F4F4"/>
    <a:srgbClr val="FAFAFA"/>
    <a:srgbClr val="D964C7"/>
    <a:srgbClr val="A4A1A9"/>
    <a:srgbClr val="660B0B"/>
    <a:srgbClr val="D91F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01" autoAdjust="0"/>
    <p:restoredTop sz="81106" autoAdjust="0"/>
  </p:normalViewPr>
  <p:slideViewPr>
    <p:cSldViewPr snapToGrid="0">
      <p:cViewPr varScale="1">
        <p:scale>
          <a:sx n="63" d="100"/>
          <a:sy n="63" d="100"/>
        </p:scale>
        <p:origin x="1454" y="45"/>
      </p:cViewPr>
      <p:guideLst>
        <p:guide orient="horz" pos="3247"/>
        <p:guide orient="horz" pos="1723"/>
        <p:guide orient="horz" pos="2523"/>
        <p:guide pos="3840"/>
        <p:guide orient="horz" pos="3911"/>
        <p:guide orient="horz" pos="1252"/>
        <p:guide orient="horz" pos="2804"/>
        <p:guide pos="4375"/>
        <p:guide pos="283"/>
        <p:guide pos="3311"/>
      </p:guideLst>
    </p:cSldViewPr>
  </p:slideViewPr>
  <p:outlineViewPr>
    <p:cViewPr>
      <p:scale>
        <a:sx n="33" d="100"/>
        <a:sy n="33" d="100"/>
      </p:scale>
      <p:origin x="0" y="-1536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0" d="100"/>
          <a:sy n="70" d="100"/>
        </p:scale>
        <p:origin x="2700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32AE93-04B0-4B14-9BA9-5A4E1E888D4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36576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l">
              <a:defRPr sz="1200"/>
            </a:lvl1pPr>
          </a:lstStyle>
          <a:p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© 2017 Keysight Technologies and/or its affiliates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E6FEEE-424C-49DA-AAE0-6FD6D9B0551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943600" y="8685213"/>
            <a:ext cx="9144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r">
              <a:defRPr sz="1200"/>
            </a:lvl1pPr>
          </a:lstStyle>
          <a:p>
            <a:fld id="{836D5859-1D5A-48C7-BA8C-83EF8FC1CBCA}" type="slidenum">
              <a:rPr lang="en-US" sz="8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‹#›</a:t>
            </a:fld>
            <a:endParaRPr lang="en-US" sz="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746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1650" y="914400"/>
            <a:ext cx="5854700" cy="3294063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14353" y="4400549"/>
            <a:ext cx="5829301" cy="360045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685213"/>
            <a:ext cx="3657600" cy="458787"/>
          </a:xfrm>
          <a:prstGeom prst="rect">
            <a:avLst/>
          </a:prstGeom>
        </p:spPr>
        <p:txBody>
          <a:bodyPr vert="horz" wrap="square" lIns="182880" tIns="182880" rIns="182880" bIns="182880" rtlCol="0" anchor="b">
            <a:noAutofit/>
          </a:bodyPr>
          <a:lstStyle>
            <a:lvl1pPr>
              <a:defRPr 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© 2017 Keysight Technologies and/or its affiliates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943600" y="8685213"/>
            <a:ext cx="9144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8FDEE44-2F84-48D1-BBF6-82E16595D1F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1822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Bef>
        <a:spcPts val="400"/>
      </a:spcBef>
      <a:buFont typeface="Arial" panose="020B0604020202020204" pitchFamily="34" charset="0"/>
      <a:buChar char="​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27432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41148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54864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91179" indent="-291179">
              <a:buFont typeface="Arial" charset="0"/>
              <a:buChar char="•"/>
            </a:pPr>
            <a:r>
              <a:rPr lang="en-US" dirty="0">
                <a:solidFill>
                  <a:schemeClr val="accent6"/>
                </a:solidFill>
              </a:rPr>
              <a:t>Hello</a:t>
            </a:r>
            <a:r>
              <a:rPr lang="en-US" baseline="0" dirty="0">
                <a:solidFill>
                  <a:schemeClr val="accent6"/>
                </a:solidFill>
              </a:rPr>
              <a:t> and welcome. </a:t>
            </a:r>
          </a:p>
          <a:p>
            <a:pPr marL="291179" indent="-291179">
              <a:buFont typeface="Arial" charset="0"/>
              <a:buChar char="•"/>
            </a:pPr>
            <a:r>
              <a:rPr lang="en-US" dirty="0">
                <a:solidFill>
                  <a:schemeClr val="accent6"/>
                </a:solidFill>
              </a:rPr>
              <a:t>Introduce self.</a:t>
            </a:r>
          </a:p>
          <a:p>
            <a:pPr marL="291179" indent="-291179">
              <a:buFont typeface="Arial" charset="0"/>
              <a:buChar char="•"/>
            </a:pPr>
            <a:r>
              <a:rPr lang="en-US" dirty="0">
                <a:solidFill>
                  <a:schemeClr val="accent6"/>
                </a:solidFill>
              </a:rPr>
              <a:t>Today we are going to talk about KeysightCare and how this elevated level of support can help you bring your products to market faster</a:t>
            </a:r>
            <a:r>
              <a:rPr lang="en-US" dirty="0"/>
              <a:t>.</a:t>
            </a:r>
            <a:endParaRPr lang="en-US" dirty="0">
              <a:solidFill>
                <a:schemeClr val="accent6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8731A5-374A-4324-BDE8-D9921A02F95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4463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4911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 beyond basic warranty with the level of </a:t>
            </a:r>
            <a:r>
              <a:rPr lang="en-US" dirty="0" err="1"/>
              <a:t>KeysightCare</a:t>
            </a:r>
            <a:r>
              <a:rPr lang="en-US" dirty="0"/>
              <a:t> that matches your business nee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27092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7125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259E29B8-69B3-4461-B37F-0DBB9DC0476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7C7E9E7-7333-4EF5-9FC3-4CEF923EA801}"/>
              </a:ext>
            </a:extLst>
          </p:cNvPr>
          <p:cNvSpPr/>
          <p:nvPr userDrawn="1"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40" name="Logo">
            <a:extLst>
              <a:ext uri="{FF2B5EF4-FFF2-40B4-BE49-F238E27FC236}">
                <a16:creationId xmlns:a16="http://schemas.microsoft.com/office/drawing/2014/main" id="{D2A95714-9F6E-48DD-9ED6-94BDDECF0F49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60" name="Freeform 5">
              <a:extLst>
                <a:ext uri="{FF2B5EF4-FFF2-40B4-BE49-F238E27FC236}">
                  <a16:creationId xmlns:a16="http://schemas.microsoft.com/office/drawing/2014/main" id="{39598F92-4036-449A-A381-281AC133F93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6A04830E-5424-4362-9CD6-60CBCC39C20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" name="Ruler">
            <a:extLst>
              <a:ext uri="{FF2B5EF4-FFF2-40B4-BE49-F238E27FC236}">
                <a16:creationId xmlns:a16="http://schemas.microsoft.com/office/drawing/2014/main" id="{DBE24C15-4489-4BF7-A20E-4FEB0A1A6671}"/>
              </a:ext>
            </a:extLst>
          </p:cNvPr>
          <p:cNvGrpSpPr/>
          <p:nvPr userDrawn="1"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EBDB098C-E5AE-4364-A913-1C8D462BF9B3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9A6D359-A1D3-413C-8281-5A2E7EEE320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5A7D9A44-D64C-4D5A-B183-958220A4996C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34F8A2C-8776-4D1A-93D7-4590C0622121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91CB2CF-6B6F-48D5-8365-33EC34BA80A0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4458D058-1610-4C89-9349-E009140E28F5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35743F61-B1FA-44F3-81EC-3FF4A1864B3B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46A99D48-7BDC-4896-BBA2-67770AABD231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3B3F7266-53C6-4879-8513-A4486B8FC303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465021D-7CFB-4445-8798-684D88150AE5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1F2AFDE6-7C63-49EA-B242-2927A8B9902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D252C539-DDC5-412A-AD14-69BA4ED96AF5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A6D93BA2-F008-40E1-825E-6CF327EC92DA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ED2E7C4B-6367-42C3-B536-906DE4FD552D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6A78576E-5C4A-48E5-B281-76308E82DB77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1B39927-09E1-467A-8149-FE7A19A30F66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DC32B564-C1C7-4C1A-8066-81D90765D42D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31267B10-9154-4C28-9140-3AF5C2021E44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290F9B9-A40C-41F9-B489-C1D87E71C101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Speaker Name">
            <a:extLst>
              <a:ext uri="{FF2B5EF4-FFF2-40B4-BE49-F238E27FC236}">
                <a16:creationId xmlns:a16="http://schemas.microsoft.com/office/drawing/2014/main" id="{88104DA9-6CD2-4C4F-A6AE-C5D0CD6E0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Name</a:t>
            </a:r>
          </a:p>
        </p:txBody>
      </p:sp>
      <p:sp>
        <p:nvSpPr>
          <p:cNvPr id="37" name="Text Placeholder 128">
            <a:extLst>
              <a:ext uri="{FF2B5EF4-FFF2-40B4-BE49-F238E27FC236}">
                <a16:creationId xmlns:a16="http://schemas.microsoft.com/office/drawing/2014/main" id="{69D5EB8D-3B85-4059-8F34-4BFB6D0DED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 dirty="0"/>
              <a:t>YYYY.MM.DD</a:t>
            </a:r>
          </a:p>
        </p:txBody>
      </p:sp>
      <p:sp>
        <p:nvSpPr>
          <p:cNvPr id="38" name="Speaker Title">
            <a:extLst>
              <a:ext uri="{FF2B5EF4-FFF2-40B4-BE49-F238E27FC236}">
                <a16:creationId xmlns:a16="http://schemas.microsoft.com/office/drawing/2014/main" id="{0D9078F8-E937-4EF3-AC9B-A84856FA94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Title / Company Name</a:t>
            </a:r>
          </a:p>
        </p:txBody>
      </p:sp>
      <p:sp>
        <p:nvSpPr>
          <p:cNvPr id="31" name="Title">
            <a:extLst>
              <a:ext uri="{FF2B5EF4-FFF2-40B4-BE49-F238E27FC236}">
                <a16:creationId xmlns:a16="http://schemas.microsoft.com/office/drawing/2014/main" id="{7A92962A-B660-43F3-9C7C-C1CD756ED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1456875"/>
            <a:ext cx="9372600" cy="1336928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 dirty="0"/>
              <a:t>Title Slide Layou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FC49378-BFD9-43A8-8DB2-52BE426047C8}"/>
              </a:ext>
            </a:extLst>
          </p:cNvPr>
          <p:cNvSpPr/>
          <p:nvPr userDrawn="1"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3878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Mosa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F06E54C9-A448-4577-8FFC-86B9235556E4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49261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750D041D-3D23-45A0-B825-F6942FB33899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49261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A34408D2-7305-44BD-88E2-4782253029F6}"/>
              </a:ext>
            </a:extLst>
          </p:cNvPr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449261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AE057395-5D60-4151-A3F4-BD3C26F517E0}"/>
              </a:ext>
            </a:extLst>
          </p:cNvPr>
          <p:cNvSpPr>
            <a:spLocks noGrp="1" noChangeAspect="1"/>
          </p:cNvSpPr>
          <p:nvPr>
            <p:ph type="pic" sz="quarter" idx="31" hasCustomPrompt="1"/>
          </p:nvPr>
        </p:nvSpPr>
        <p:spPr>
          <a:xfrm>
            <a:off x="2724005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82EC2578-E69B-48E7-9A0D-509C4DCB31EA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2724005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7D0D4746-2A3C-4008-AE56-9C971679424A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2724005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FCA5D73-8894-4E23-A184-A54E0EC5A0EE}"/>
              </a:ext>
            </a:extLst>
          </p:cNvPr>
          <p:cNvSpPr>
            <a:spLocks noGrp="1" noChangeAspect="1"/>
          </p:cNvSpPr>
          <p:nvPr>
            <p:ph type="pic" sz="quarter" idx="34" hasCustomPrompt="1"/>
          </p:nvPr>
        </p:nvSpPr>
        <p:spPr>
          <a:xfrm>
            <a:off x="499874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6ACBD5C3-DCFC-4051-9545-03D3162522D6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499874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A66F51C-4B75-45D7-A374-BEBFC16F4525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499874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892A4E8F-9D23-4A3B-9CF3-6E98766A0FC3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7273493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7C4C030-205C-4BEE-910F-AE86E4049451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7273493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FC23546C-CAC0-4FD6-8C62-1F4F217EC83D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7273493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084AFB79-D26E-4F3D-8A40-6D479CF90DB0}"/>
              </a:ext>
            </a:extLst>
          </p:cNvPr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954823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897A7121-A588-46B7-AF5B-FDF684B00905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954823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89C5946B-4047-4FB3-AC49-D0F9A0F37808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954823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DC077E-289F-4AAE-B3F6-9B318C828A23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en-US" dirty="0"/>
              <a:t>Keysight Automotive &amp; Energy Overview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4F685A-9886-45FB-8B04-AB8597A67C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Photo Mosaic Layout</a:t>
            </a:r>
          </a:p>
        </p:txBody>
      </p:sp>
    </p:spTree>
    <p:extLst>
      <p:ext uri="{BB962C8B-B14F-4D97-AF65-F5344CB8AC3E}">
        <p14:creationId xmlns:p14="http://schemas.microsoft.com/office/powerpoint/2010/main" val="23448118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CE3183E7-4A32-4F91-8AF8-C43C846072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76819" y="5140292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76819" y="4734027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2" name="Quote">
            <a:extLst>
              <a:ext uri="{FF2B5EF4-FFF2-40B4-BE49-F238E27FC236}">
                <a16:creationId xmlns:a16="http://schemas.microsoft.com/office/drawing/2014/main" id="{86824591-1B5F-489A-9593-4CEFC4B3EE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6819" y="1454532"/>
            <a:ext cx="8636427" cy="327949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lIns="182880" tIns="91440" rIns="182880" bIns="91440" rtlCol="0" anchor="t">
            <a:noAutofit/>
          </a:bodyPr>
          <a:lstStyle>
            <a:lvl1pPr>
              <a:lnSpc>
                <a:spcPct val="100000"/>
              </a:lnSpc>
              <a:defRPr lang="en-US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 dirty="0"/>
              <a:t>Quote layout.</a:t>
            </a:r>
          </a:p>
        </p:txBody>
      </p:sp>
      <p:grpSp>
        <p:nvGrpSpPr>
          <p:cNvPr id="22" name="Quote_Box">
            <a:extLst>
              <a:ext uri="{FF2B5EF4-FFF2-40B4-BE49-F238E27FC236}">
                <a16:creationId xmlns:a16="http://schemas.microsoft.com/office/drawing/2014/main" id="{16644DA2-FD5C-4132-871A-2F4CC3B9C32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7850" y="1454532"/>
            <a:ext cx="648005" cy="648005"/>
            <a:chOff x="1127850" y="1457847"/>
            <a:chExt cx="648005" cy="648005"/>
          </a:xfrm>
        </p:grpSpPr>
        <p:sp>
          <p:nvSpPr>
            <p:cNvPr id="23" name="Quote_Box">
              <a:extLst>
                <a:ext uri="{FF2B5EF4-FFF2-40B4-BE49-F238E27FC236}">
                  <a16:creationId xmlns:a16="http://schemas.microsoft.com/office/drawing/2014/main" id="{F8742923-446F-4F3E-A318-7D750E032EAE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24" name="Icon">
              <a:extLst>
                <a:ext uri="{FF2B5EF4-FFF2-40B4-BE49-F238E27FC236}">
                  <a16:creationId xmlns:a16="http://schemas.microsoft.com/office/drawing/2014/main" id="{64D02E25-A2AE-488C-8479-BFF4596F0CD1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DB22BC-764C-491D-888B-64DE8D2F75F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/>
              <a:t>Keysight Automotive &amp; Energy Overview</a:t>
            </a:r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3BF195AF-9651-4702-B588-B7C0FCFE2DB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7" name="Logo">
            <a:extLst>
              <a:ext uri="{FF2B5EF4-FFF2-40B4-BE49-F238E27FC236}">
                <a16:creationId xmlns:a16="http://schemas.microsoft.com/office/drawing/2014/main" id="{D793CBCB-9D3E-4FB2-9244-94F5FE9EB03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5CA6D27F-C163-4B78-8C9F-63F81E7A86B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2CF469B8-42CE-43E7-A089-ED56DA2D857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5957913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0038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0038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00383" y="1630264"/>
            <a:ext cx="507306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wo quote layout.</a:t>
            </a:r>
          </a:p>
        </p:txBody>
      </p:sp>
      <p:grpSp>
        <p:nvGrpSpPr>
          <p:cNvPr id="106" name="Quote_Box">
            <a:extLst>
              <a:ext uri="{FF2B5EF4-FFF2-40B4-BE49-F238E27FC236}">
                <a16:creationId xmlns:a16="http://schemas.microsoft.com/office/drawing/2014/main" id="{ABCF5F15-1C99-4B5F-A62C-06821A1D013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300383" y="1115459"/>
            <a:ext cx="509542" cy="509542"/>
            <a:chOff x="1127850" y="1457847"/>
            <a:chExt cx="648005" cy="648005"/>
          </a:xfrm>
        </p:grpSpPr>
        <p:sp>
          <p:nvSpPr>
            <p:cNvPr id="107" name="Quote_Box">
              <a:extLst>
                <a:ext uri="{FF2B5EF4-FFF2-40B4-BE49-F238E27FC236}">
                  <a16:creationId xmlns:a16="http://schemas.microsoft.com/office/drawing/2014/main" id="{BBFBCDF7-264A-4503-9A4A-3935E8AFA293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108" name="Icon">
              <a:extLst>
                <a:ext uri="{FF2B5EF4-FFF2-40B4-BE49-F238E27FC236}">
                  <a16:creationId xmlns:a16="http://schemas.microsoft.com/office/drawing/2014/main" id="{D21F579F-48BF-483D-8137-FE8CA23EA9A1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dirty="0"/>
            </a:p>
          </p:txBody>
        </p:sp>
      </p:grp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111" y="1630264"/>
            <a:ext cx="506985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wo quote layout.</a:t>
            </a:r>
          </a:p>
        </p:txBody>
      </p:sp>
      <p:grpSp>
        <p:nvGrpSpPr>
          <p:cNvPr id="7" name="Quote_Box">
            <a:extLst>
              <a:ext uri="{FF2B5EF4-FFF2-40B4-BE49-F238E27FC236}">
                <a16:creationId xmlns:a16="http://schemas.microsoft.com/office/drawing/2014/main" id="{9668343F-8517-4F28-87DB-A2A07E8FB7E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7112" y="1115459"/>
            <a:ext cx="509542" cy="509542"/>
            <a:chOff x="1127850" y="1457847"/>
            <a:chExt cx="648005" cy="648005"/>
          </a:xfrm>
        </p:grpSpPr>
        <p:sp>
          <p:nvSpPr>
            <p:cNvPr id="36" name="Quote_Box">
              <a:extLst>
                <a:ext uri="{FF2B5EF4-FFF2-40B4-BE49-F238E27FC236}">
                  <a16:creationId xmlns:a16="http://schemas.microsoft.com/office/drawing/2014/main" id="{42E56F5C-3AEB-4DE3-8888-7B24F0EA4953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6" name="Icon">
              <a:extLst>
                <a:ext uri="{FF2B5EF4-FFF2-40B4-BE49-F238E27FC236}">
                  <a16:creationId xmlns:a16="http://schemas.microsoft.com/office/drawing/2014/main" id="{3DF19E5B-CFF4-45C8-B61A-F63CA122FB99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5EF5EE-3B70-4DA9-9CA4-B61782592FB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dirty="0"/>
              <a:t>Keysight Automotive &amp; Energy Overview</a:t>
            </a:r>
          </a:p>
        </p:txBody>
      </p:sp>
      <p:sp>
        <p:nvSpPr>
          <p:cNvPr id="32" name="Slide Number">
            <a:extLst>
              <a:ext uri="{FF2B5EF4-FFF2-40B4-BE49-F238E27FC236}">
                <a16:creationId xmlns:a16="http://schemas.microsoft.com/office/drawing/2014/main" id="{FC713103-2866-494C-A53B-1AB3D87EEA7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3" name="Logo">
            <a:extLst>
              <a:ext uri="{FF2B5EF4-FFF2-40B4-BE49-F238E27FC236}">
                <a16:creationId xmlns:a16="http://schemas.microsoft.com/office/drawing/2014/main" id="{CB047E31-151D-47D0-80D7-E717E2B6922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EEA3A2DC-1140-4EDC-B868-8D42AE958DD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B821CE29-24BB-4400-BA45-0223522B7F7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6563301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110" name="Affiliation">
            <a:extLst>
              <a:ext uri="{FF2B5EF4-FFF2-40B4-BE49-F238E27FC236}">
                <a16:creationId xmlns:a16="http://schemas.microsoft.com/office/drawing/2014/main" id="{03391EED-1D97-47E6-8177-6C95A24711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784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11" name="Name">
            <a:extLst>
              <a:ext uri="{FF2B5EF4-FFF2-40B4-BE49-F238E27FC236}">
                <a16:creationId xmlns:a16="http://schemas.microsoft.com/office/drawing/2014/main" id="{F8ADE435-12F0-4A39-B8D8-C041290A99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784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15" name="Text Placeholder 9">
            <a:extLst>
              <a:ext uri="{FF2B5EF4-FFF2-40B4-BE49-F238E27FC236}">
                <a16:creationId xmlns:a16="http://schemas.microsoft.com/office/drawing/2014/main" id="{F508999A-BE23-41E9-BBE2-1DC9042691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2784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113" name="Quote_Box">
            <a:extLst>
              <a:ext uri="{FF2B5EF4-FFF2-40B4-BE49-F238E27FC236}">
                <a16:creationId xmlns:a16="http://schemas.microsoft.com/office/drawing/2014/main" id="{63E5C30B-475D-4271-B492-051282960614}"/>
              </a:ext>
            </a:extLst>
          </p:cNvPr>
          <p:cNvSpPr/>
          <p:nvPr userDrawn="1"/>
        </p:nvSpPr>
        <p:spPr>
          <a:xfrm>
            <a:off x="8127844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4" name="Icon">
            <a:extLst>
              <a:ext uri="{FF2B5EF4-FFF2-40B4-BE49-F238E27FC236}">
                <a16:creationId xmlns:a16="http://schemas.microsoft.com/office/drawing/2014/main" id="{6207C573-4A51-45AB-8A2D-1B0EC0E0CF7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263899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4472940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4472940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472940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107" name="Quote_Box">
            <a:extLst>
              <a:ext uri="{FF2B5EF4-FFF2-40B4-BE49-F238E27FC236}">
                <a16:creationId xmlns:a16="http://schemas.microsoft.com/office/drawing/2014/main" id="{BBFBCDF7-264A-4503-9A4A-3935E8AFA293}"/>
              </a:ext>
            </a:extLst>
          </p:cNvPr>
          <p:cNvSpPr/>
          <p:nvPr userDrawn="1"/>
        </p:nvSpPr>
        <p:spPr>
          <a:xfrm>
            <a:off x="4471995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8" name="Icon">
            <a:extLst>
              <a:ext uri="{FF2B5EF4-FFF2-40B4-BE49-F238E27FC236}">
                <a16:creationId xmlns:a16="http://schemas.microsoft.com/office/drawing/2014/main" id="{D21F579F-48BF-483D-8137-FE8CA23EA9A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608050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1711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36" name="Quote_Box">
            <a:extLst>
              <a:ext uri="{FF2B5EF4-FFF2-40B4-BE49-F238E27FC236}">
                <a16:creationId xmlns:a16="http://schemas.microsoft.com/office/drawing/2014/main" id="{42E56F5C-3AEB-4DE3-8888-7B24F0EA4953}"/>
              </a:ext>
            </a:extLst>
          </p:cNvPr>
          <p:cNvSpPr/>
          <p:nvPr userDrawn="1"/>
        </p:nvSpPr>
        <p:spPr>
          <a:xfrm>
            <a:off x="817112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Icon">
            <a:extLst>
              <a:ext uri="{FF2B5EF4-FFF2-40B4-BE49-F238E27FC236}">
                <a16:creationId xmlns:a16="http://schemas.microsoft.com/office/drawing/2014/main" id="{3DF19E5B-CFF4-45C8-B61A-F63CA122FB9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53167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09D31E-8183-451E-99A7-97F7D20575CB}"/>
              </a:ext>
            </a:extLst>
          </p:cNvPr>
          <p:cNvSpPr>
            <a:spLocks noGrp="1"/>
          </p:cNvSpPr>
          <p:nvPr userDrawn="1">
            <p:ph type="ftr" sz="quarter" idx="27"/>
          </p:nvPr>
        </p:nvSpPr>
        <p:spPr/>
        <p:txBody>
          <a:bodyPr/>
          <a:lstStyle/>
          <a:p>
            <a:r>
              <a:rPr lang="en-US" dirty="0"/>
              <a:t>Keysight Automotive &amp; Energy Overview</a:t>
            </a:r>
          </a:p>
        </p:txBody>
      </p:sp>
      <p:sp>
        <p:nvSpPr>
          <p:cNvPr id="37" name="Slide Number">
            <a:extLst>
              <a:ext uri="{FF2B5EF4-FFF2-40B4-BE49-F238E27FC236}">
                <a16:creationId xmlns:a16="http://schemas.microsoft.com/office/drawing/2014/main" id="{64FA7F3B-629E-4994-9D8D-543F3F50EDA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8" name="Logo">
            <a:extLst>
              <a:ext uri="{FF2B5EF4-FFF2-40B4-BE49-F238E27FC236}">
                <a16:creationId xmlns:a16="http://schemas.microsoft.com/office/drawing/2014/main" id="{8D803CD8-0215-4AF5-8112-85A0C960BE0A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id="{1FE609AA-87CA-4AAA-86B8-3A5F58ED1C2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0A9110DB-3204-4593-B863-F03340BAE92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479919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State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ure">
            <a:extLst>
              <a:ext uri="{FF2B5EF4-FFF2-40B4-BE49-F238E27FC236}">
                <a16:creationId xmlns:a16="http://schemas.microsoft.com/office/drawing/2014/main" id="{1E4985FC-C4A1-4C4E-9D8B-E1EF235D55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54FD730-BB81-4C20-B6E9-3E0B048CAC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1463040"/>
            <a:ext cx="11292840" cy="3785616"/>
          </a:xfrm>
        </p:spPr>
        <p:txBody>
          <a:bodyPr anchor="ctr"/>
          <a:lstStyle>
            <a:lvl1pPr algn="ctr">
              <a:lnSpc>
                <a:spcPct val="90000"/>
              </a:lnSpc>
              <a:defRPr lang="en-US" sz="4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/>
              <a:t>Large statement layout.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9D9AE906-1DB3-4285-A68A-0F8B8AC97C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Keysight Automotive &amp; Energy Overview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27E814A0-99D6-40C5-A745-5C658684C0F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7" name="Logo">
            <a:extLst>
              <a:ext uri="{FF2B5EF4-FFF2-40B4-BE49-F238E27FC236}">
                <a16:creationId xmlns:a16="http://schemas.microsoft.com/office/drawing/2014/main" id="{CBA27C52-51B0-46E5-A354-FDA0C0E69C9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0AE504F3-CE1B-4FFA-90CB-0DB30ADE04C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47EEFBCB-3E60-4B8E-989D-3A4D50513D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20097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1D815A8-0624-4A10-B1F3-C19B0E2331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Keysight Automotive &amp; Energy Overview</a:t>
            </a:r>
          </a:p>
        </p:txBody>
      </p:sp>
    </p:spTree>
    <p:extLst>
      <p:ext uri="{BB962C8B-B14F-4D97-AF65-F5344CB8AC3E}">
        <p14:creationId xmlns:p14="http://schemas.microsoft.com/office/powerpoint/2010/main" val="10409984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(No Textur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lide Number">
            <a:extLst>
              <a:ext uri="{FF2B5EF4-FFF2-40B4-BE49-F238E27FC236}">
                <a16:creationId xmlns:a16="http://schemas.microsoft.com/office/drawing/2014/main" id="{C1F06F61-6DD2-446B-987D-B384047C087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5" name="Logo">
            <a:extLst>
              <a:ext uri="{FF2B5EF4-FFF2-40B4-BE49-F238E27FC236}">
                <a16:creationId xmlns:a16="http://schemas.microsoft.com/office/drawing/2014/main" id="{56CEE073-8BD3-492B-BD4A-547A71C58B3A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FC4CFB3E-CC68-4065-BA51-35CB29381FC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80F4F0DF-D1F7-485E-8B01-94A5F0B04E4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8FB5C1-1733-49B1-83F7-48444CAFE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Keysight Automotive &amp; Energy Overview</a:t>
            </a:r>
          </a:p>
        </p:txBody>
      </p:sp>
    </p:spTree>
    <p:extLst>
      <p:ext uri="{BB962C8B-B14F-4D97-AF65-F5344CB8AC3E}">
        <p14:creationId xmlns:p14="http://schemas.microsoft.com/office/powerpoint/2010/main" val="20356952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F2D524AB-E282-4686-B58B-641438DC9B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BD298B8-A731-40B0-A82D-73E38F5E3C48}"/>
              </a:ext>
            </a:extLst>
          </p:cNvPr>
          <p:cNvSpPr/>
          <p:nvPr userDrawn="1"/>
        </p:nvSpPr>
        <p:spPr>
          <a:xfrm>
            <a:off x="2990868" y="1895475"/>
            <a:ext cx="6496032" cy="2883030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077A18B9-3018-42E0-8877-4E494677B9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757744" y="2807676"/>
            <a:ext cx="4676512" cy="1097280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66A3BF12-9A81-464B-8E0D-17C715D2D57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5C73C4CA-E0CE-41EC-A841-98AAB5DA855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1133441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ID">
            <a:extLst>
              <a:ext uri="{FF2B5EF4-FFF2-40B4-BE49-F238E27FC236}">
                <a16:creationId xmlns:a16="http://schemas.microsoft.com/office/drawing/2014/main" id="{B01B4ED1-11E6-4650-B725-EC73B57E4A24}"/>
              </a:ext>
            </a:extLst>
          </p:cNvPr>
          <p:cNvGrpSpPr/>
          <p:nvPr userDrawn="1"/>
        </p:nvGrpSpPr>
        <p:grpSpPr>
          <a:xfrm>
            <a:off x="0" y="-1"/>
            <a:ext cx="12192000" cy="6858001"/>
            <a:chOff x="0" y="-1"/>
            <a:chExt cx="12192000" cy="6858001"/>
          </a:xfrm>
        </p:grpSpPr>
        <p:grpSp>
          <p:nvGrpSpPr>
            <p:cNvPr id="90" name="5-Columns">
              <a:extLst>
                <a:ext uri="{FF2B5EF4-FFF2-40B4-BE49-F238E27FC236}">
                  <a16:creationId xmlns:a16="http://schemas.microsoft.com/office/drawing/2014/main" id="{7FDABA8A-9F63-4CB3-AD6D-E3081FE4A134}"/>
                </a:ext>
              </a:extLst>
            </p:cNvPr>
            <p:cNvGrpSpPr/>
            <p:nvPr userDrawn="1"/>
          </p:nvGrpSpPr>
          <p:grpSpPr>
            <a:xfrm>
              <a:off x="457196" y="6369995"/>
              <a:ext cx="11284638" cy="66775"/>
              <a:chOff x="457196" y="6369995"/>
              <a:chExt cx="11284638" cy="66775"/>
            </a:xfrm>
            <a:solidFill>
              <a:schemeClr val="accent1">
                <a:lumMod val="40000"/>
                <a:lumOff val="60000"/>
                <a:alpha val="35000"/>
              </a:schemeClr>
            </a:solidFill>
          </p:grpSpPr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8CCE06-2803-4BC4-8F52-8C22514AAC9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7196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1" name="Rectangle 240">
                <a:extLst>
                  <a:ext uri="{FF2B5EF4-FFF2-40B4-BE49-F238E27FC236}">
                    <a16:creationId xmlns:a16="http://schemas.microsoft.com/office/drawing/2014/main" id="{EFEE6688-BF23-4A0F-B580-67F2EB80DF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757020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2" name="Rectangle 241">
                <a:extLst>
                  <a:ext uri="{FF2B5EF4-FFF2-40B4-BE49-F238E27FC236}">
                    <a16:creationId xmlns:a16="http://schemas.microsoft.com/office/drawing/2014/main" id="{0867ECC9-01B8-4FD0-AA00-DB2A4DF6D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56844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3" name="Rectangle 242">
                <a:extLst>
                  <a:ext uri="{FF2B5EF4-FFF2-40B4-BE49-F238E27FC236}">
                    <a16:creationId xmlns:a16="http://schemas.microsoft.com/office/drawing/2014/main" id="{0F74219B-904B-4014-A041-38C261EB95B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56668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4" name="Rectangle 243">
                <a:extLst>
                  <a:ext uri="{FF2B5EF4-FFF2-40B4-BE49-F238E27FC236}">
                    <a16:creationId xmlns:a16="http://schemas.microsoft.com/office/drawing/2014/main" id="{D37F15D0-DE02-4884-B44D-921B540070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656491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1" name="Columns">
              <a:extLst>
                <a:ext uri="{FF2B5EF4-FFF2-40B4-BE49-F238E27FC236}">
                  <a16:creationId xmlns:a16="http://schemas.microsoft.com/office/drawing/2014/main" id="{CA147F0F-2720-4D14-BF12-11A0E876C4F5}"/>
                </a:ext>
              </a:extLst>
            </p:cNvPr>
            <p:cNvGrpSpPr/>
            <p:nvPr userDrawn="1"/>
          </p:nvGrpSpPr>
          <p:grpSpPr>
            <a:xfrm>
              <a:off x="450165" y="422030"/>
              <a:ext cx="11291670" cy="5868573"/>
              <a:chOff x="450165" y="422030"/>
              <a:chExt cx="11291670" cy="5868573"/>
            </a:xfrm>
            <a:solidFill>
              <a:schemeClr val="accent1">
                <a:lumMod val="40000"/>
                <a:lumOff val="60000"/>
                <a:alpha val="20000"/>
              </a:schemeClr>
            </a:solidFill>
          </p:grpSpPr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9751839D-CEC1-45BE-9708-DAA3CE5F689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01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33028180-FC57-41E2-9874-BD949906CC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40987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A428A839-7BAF-4979-A0EE-91F40C11FE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36958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E8E5B971-2FFF-495D-904E-1754501FCD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2929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331A14FD-E4E3-44E8-90C4-63354F192CD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8900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825AFDC6-95BA-4E36-A7E5-2434D0A29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4871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D716465D-EE0D-4453-A606-A83F187D3C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20842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3DC79EC4-363A-4716-8E58-408C7D981B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6813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49FF239A-FB3F-48EE-8991-0EE98B0258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2784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42B26A2-737C-48BF-B21F-47EABB25FB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755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E3076E2C-385C-42BA-8312-8A176F9204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472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9B8902CC-F93D-4AE7-A8DC-25DC91A68DF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06977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2" name="Half-Columns">
              <a:extLst>
                <a:ext uri="{FF2B5EF4-FFF2-40B4-BE49-F238E27FC236}">
                  <a16:creationId xmlns:a16="http://schemas.microsoft.com/office/drawing/2014/main" id="{204B2196-46C3-43E9-B91C-0070561E93CD}"/>
                </a:ext>
              </a:extLst>
            </p:cNvPr>
            <p:cNvGrpSpPr/>
            <p:nvPr userDrawn="1"/>
          </p:nvGrpSpPr>
          <p:grpSpPr>
            <a:xfrm>
              <a:off x="817594" y="422030"/>
              <a:ext cx="10556812" cy="5868573"/>
              <a:chOff x="817594" y="422030"/>
              <a:chExt cx="10556812" cy="5868573"/>
            </a:xfrm>
          </p:grpSpPr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B4C2424A-DAE7-47F5-803E-8B0C3C4C0B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75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1F10CFA4-C33B-4610-8DB6-2E8EC6F927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7730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EB84BBF9-CCBD-4D1E-9F11-4BC2A4DEC4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3701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1256665B-0348-4F3E-ACD5-FD9756A20B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72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61724F5A-484B-49DE-9661-FAACDAE7439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5643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169D8861-3D05-4F47-A6E6-629CBE006E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1614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2AF0C905-F3F8-4655-B2FF-297DA836C0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7585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25C9DF23-3824-4397-B5F3-CA748E2542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3556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4" name="Straight Connector 223">
                <a:extLst>
                  <a:ext uri="{FF2B5EF4-FFF2-40B4-BE49-F238E27FC236}">
                    <a16:creationId xmlns:a16="http://schemas.microsoft.com/office/drawing/2014/main" id="{4810292C-F27F-4ADA-A818-ED47B4FDC9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9527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Straight Connector 224">
                <a:extLst>
                  <a:ext uri="{FF2B5EF4-FFF2-40B4-BE49-F238E27FC236}">
                    <a16:creationId xmlns:a16="http://schemas.microsoft.com/office/drawing/2014/main" id="{0FA31E9E-A1D6-4A1F-A31B-8155BD7639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5498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Straight Connector 225">
                <a:extLst>
                  <a:ext uri="{FF2B5EF4-FFF2-40B4-BE49-F238E27FC236}">
                    <a16:creationId xmlns:a16="http://schemas.microsoft.com/office/drawing/2014/main" id="{0ADD4CF6-2B17-408C-B1A2-571FACF84D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4146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226">
                <a:extLst>
                  <a:ext uri="{FF2B5EF4-FFF2-40B4-BE49-F238E27FC236}">
                    <a16:creationId xmlns:a16="http://schemas.microsoft.com/office/drawing/2014/main" id="{B1F99D05-254F-46BB-9DB1-7A8273EE2D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74406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Minor-Baselines">
              <a:extLst>
                <a:ext uri="{FF2B5EF4-FFF2-40B4-BE49-F238E27FC236}">
                  <a16:creationId xmlns:a16="http://schemas.microsoft.com/office/drawing/2014/main" id="{98E6344D-0E97-46AD-8557-F3655F4C668A}"/>
                </a:ext>
              </a:extLst>
            </p:cNvPr>
            <p:cNvGrpSpPr/>
            <p:nvPr userDrawn="1"/>
          </p:nvGrpSpPr>
          <p:grpSpPr>
            <a:xfrm>
              <a:off x="0" y="594635"/>
              <a:ext cx="12192000" cy="5523360"/>
              <a:chOff x="0" y="594635"/>
              <a:chExt cx="12192000" cy="5523360"/>
            </a:xfrm>
          </p:grpSpPr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43988CC1-B2D8-45F6-99EB-F0C991951B5A}"/>
                  </a:ext>
                </a:extLst>
              </p:cNvPr>
              <p:cNvCxnSpPr/>
              <p:nvPr userDrawn="1"/>
            </p:nvCxnSpPr>
            <p:spPr>
              <a:xfrm flipH="1">
                <a:off x="0" y="12850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FDC16D86-ECC2-46A0-98AD-FF37E7984488}"/>
                  </a:ext>
                </a:extLst>
              </p:cNvPr>
              <p:cNvCxnSpPr/>
              <p:nvPr userDrawn="1"/>
            </p:nvCxnSpPr>
            <p:spPr>
              <a:xfrm flipH="1">
                <a:off x="0" y="16302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73384F88-CFC2-485A-85E5-BC9A387E70FA}"/>
                  </a:ext>
                </a:extLst>
              </p:cNvPr>
              <p:cNvCxnSpPr/>
              <p:nvPr userDrawn="1"/>
            </p:nvCxnSpPr>
            <p:spPr>
              <a:xfrm flipH="1">
                <a:off x="0" y="19754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A7C0AFBD-D26D-4ADF-A7A4-2C3FA6041EFE}"/>
                  </a:ext>
                </a:extLst>
              </p:cNvPr>
              <p:cNvCxnSpPr/>
              <p:nvPr userDrawn="1"/>
            </p:nvCxnSpPr>
            <p:spPr>
              <a:xfrm flipH="1">
                <a:off x="0" y="23206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DB0F5EF3-3B04-4F24-AAF0-42DB116656FA}"/>
                  </a:ext>
                </a:extLst>
              </p:cNvPr>
              <p:cNvCxnSpPr/>
              <p:nvPr userDrawn="1"/>
            </p:nvCxnSpPr>
            <p:spPr>
              <a:xfrm flipH="1">
                <a:off x="0" y="26658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BCEB7FB8-D33A-40E7-837C-1FA51F98C0D6}"/>
                  </a:ext>
                </a:extLst>
              </p:cNvPr>
              <p:cNvCxnSpPr/>
              <p:nvPr userDrawn="1"/>
            </p:nvCxnSpPr>
            <p:spPr>
              <a:xfrm flipH="1">
                <a:off x="0" y="301110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16B25582-EDFD-47F5-ADFD-07688165CA6C}"/>
                  </a:ext>
                </a:extLst>
              </p:cNvPr>
              <p:cNvCxnSpPr/>
              <p:nvPr userDrawn="1"/>
            </p:nvCxnSpPr>
            <p:spPr>
              <a:xfrm flipH="1">
                <a:off x="0" y="335631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D8EBB482-69CF-40F9-8E45-C88546A14A6E}"/>
                  </a:ext>
                </a:extLst>
              </p:cNvPr>
              <p:cNvCxnSpPr/>
              <p:nvPr userDrawn="1"/>
            </p:nvCxnSpPr>
            <p:spPr>
              <a:xfrm flipH="1">
                <a:off x="0" y="370152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CE2B10BC-DCC9-40B3-82C4-86EB18E49EEC}"/>
                  </a:ext>
                </a:extLst>
              </p:cNvPr>
              <p:cNvCxnSpPr/>
              <p:nvPr userDrawn="1"/>
            </p:nvCxnSpPr>
            <p:spPr>
              <a:xfrm flipH="1">
                <a:off x="0" y="40467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2E5809F8-35AA-4D63-B6C8-44DAA8666405}"/>
                  </a:ext>
                </a:extLst>
              </p:cNvPr>
              <p:cNvCxnSpPr/>
              <p:nvPr userDrawn="1"/>
            </p:nvCxnSpPr>
            <p:spPr>
              <a:xfrm flipH="1">
                <a:off x="0" y="43919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3A46BE4C-4471-46C7-A09E-442332E02E5B}"/>
                  </a:ext>
                </a:extLst>
              </p:cNvPr>
              <p:cNvCxnSpPr/>
              <p:nvPr userDrawn="1"/>
            </p:nvCxnSpPr>
            <p:spPr>
              <a:xfrm flipH="1">
                <a:off x="0" y="47371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52072814-59AF-4554-A7A1-BB6D9C0EED50}"/>
                  </a:ext>
                </a:extLst>
              </p:cNvPr>
              <p:cNvCxnSpPr/>
              <p:nvPr userDrawn="1"/>
            </p:nvCxnSpPr>
            <p:spPr>
              <a:xfrm flipH="1">
                <a:off x="0" y="50823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C32D6D8F-072E-4B53-B77E-DC633C5DA123}"/>
                  </a:ext>
                </a:extLst>
              </p:cNvPr>
              <p:cNvCxnSpPr/>
              <p:nvPr userDrawn="1"/>
            </p:nvCxnSpPr>
            <p:spPr>
              <a:xfrm flipH="1">
                <a:off x="0" y="54275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C36E0E73-A5E6-4E43-A3EA-1688EAC87F2E}"/>
                  </a:ext>
                </a:extLst>
              </p:cNvPr>
              <p:cNvCxnSpPr/>
              <p:nvPr userDrawn="1"/>
            </p:nvCxnSpPr>
            <p:spPr>
              <a:xfrm flipH="1">
                <a:off x="0" y="57727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364620E0-5F0B-419B-9A61-2736EE017C27}"/>
                  </a:ext>
                </a:extLst>
              </p:cNvPr>
              <p:cNvCxnSpPr/>
              <p:nvPr userDrawn="1"/>
            </p:nvCxnSpPr>
            <p:spPr>
              <a:xfrm flipH="1">
                <a:off x="0" y="9398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3600B6D8-8A6B-4BA6-9922-580E6EF2B022}"/>
                  </a:ext>
                </a:extLst>
              </p:cNvPr>
              <p:cNvCxnSpPr/>
              <p:nvPr userDrawn="1"/>
            </p:nvCxnSpPr>
            <p:spPr>
              <a:xfrm flipH="1">
                <a:off x="0" y="5946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779A02F2-15A0-4404-89EA-FD88F74D3901}"/>
                  </a:ext>
                </a:extLst>
              </p:cNvPr>
              <p:cNvCxnSpPr/>
              <p:nvPr userDrawn="1"/>
            </p:nvCxnSpPr>
            <p:spPr>
              <a:xfrm flipH="1">
                <a:off x="0" y="61179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Major-Baselines">
              <a:extLst>
                <a:ext uri="{FF2B5EF4-FFF2-40B4-BE49-F238E27FC236}">
                  <a16:creationId xmlns:a16="http://schemas.microsoft.com/office/drawing/2014/main" id="{6BF42672-DF70-44F3-B7CA-14A6979B434F}"/>
                </a:ext>
              </a:extLst>
            </p:cNvPr>
            <p:cNvGrpSpPr/>
            <p:nvPr userDrawn="1"/>
          </p:nvGrpSpPr>
          <p:grpSpPr>
            <a:xfrm>
              <a:off x="0" y="767240"/>
              <a:ext cx="12192000" cy="5178150"/>
              <a:chOff x="0" y="767240"/>
              <a:chExt cx="12192000" cy="5178150"/>
            </a:xfrm>
          </p:grpSpPr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F9CF9ECB-458C-47D9-B4BC-21087E05A585}"/>
                  </a:ext>
                </a:extLst>
              </p:cNvPr>
              <p:cNvCxnSpPr/>
              <p:nvPr/>
            </p:nvCxnSpPr>
            <p:spPr>
              <a:xfrm flipH="1">
                <a:off x="0" y="14576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36C496AA-6375-48D7-856A-D734E8E4CC99}"/>
                  </a:ext>
                </a:extLst>
              </p:cNvPr>
              <p:cNvCxnSpPr/>
              <p:nvPr/>
            </p:nvCxnSpPr>
            <p:spPr>
              <a:xfrm flipH="1">
                <a:off x="0" y="18028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08EA394B-F758-47C2-8E09-4C30FE4E9810}"/>
                  </a:ext>
                </a:extLst>
              </p:cNvPr>
              <p:cNvCxnSpPr/>
              <p:nvPr/>
            </p:nvCxnSpPr>
            <p:spPr>
              <a:xfrm flipH="1">
                <a:off x="0" y="21480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12C99AEE-DED4-4917-B2D7-796AEC3A484F}"/>
                  </a:ext>
                </a:extLst>
              </p:cNvPr>
              <p:cNvCxnSpPr/>
              <p:nvPr/>
            </p:nvCxnSpPr>
            <p:spPr>
              <a:xfrm flipH="1">
                <a:off x="0" y="24932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9C5D77AD-8508-45AD-834F-CE4F2430EA20}"/>
                  </a:ext>
                </a:extLst>
              </p:cNvPr>
              <p:cNvCxnSpPr/>
              <p:nvPr/>
            </p:nvCxnSpPr>
            <p:spPr>
              <a:xfrm flipH="1">
                <a:off x="0" y="283850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04E9F12A-A21A-40D7-AC40-55C2530CAAF2}"/>
                  </a:ext>
                </a:extLst>
              </p:cNvPr>
              <p:cNvCxnSpPr/>
              <p:nvPr/>
            </p:nvCxnSpPr>
            <p:spPr>
              <a:xfrm flipH="1">
                <a:off x="0" y="318371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E75DAFB1-56AC-4F65-BCF8-63F8201D42F1}"/>
                  </a:ext>
                </a:extLst>
              </p:cNvPr>
              <p:cNvCxnSpPr/>
              <p:nvPr/>
            </p:nvCxnSpPr>
            <p:spPr>
              <a:xfrm flipH="1">
                <a:off x="0" y="352892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57C01E0A-93E3-4ED0-B575-9CCBF85B5EB0}"/>
                  </a:ext>
                </a:extLst>
              </p:cNvPr>
              <p:cNvCxnSpPr/>
              <p:nvPr/>
            </p:nvCxnSpPr>
            <p:spPr>
              <a:xfrm flipH="1">
                <a:off x="0" y="387413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D5EB4A7E-05D6-4483-9749-137062ABB64E}"/>
                  </a:ext>
                </a:extLst>
              </p:cNvPr>
              <p:cNvCxnSpPr/>
              <p:nvPr/>
            </p:nvCxnSpPr>
            <p:spPr>
              <a:xfrm flipH="1">
                <a:off x="0" y="42193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0185FF42-7436-456C-B038-DF7FCC9B86C4}"/>
                  </a:ext>
                </a:extLst>
              </p:cNvPr>
              <p:cNvCxnSpPr/>
              <p:nvPr/>
            </p:nvCxnSpPr>
            <p:spPr>
              <a:xfrm flipH="1">
                <a:off x="0" y="45645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F71B5F2E-D126-4777-9BB0-A0FAB3F2CAFD}"/>
                  </a:ext>
                </a:extLst>
              </p:cNvPr>
              <p:cNvCxnSpPr/>
              <p:nvPr/>
            </p:nvCxnSpPr>
            <p:spPr>
              <a:xfrm flipH="1">
                <a:off x="0" y="49097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00090F01-D3B0-4CC1-B868-3834E45B2BEF}"/>
                  </a:ext>
                </a:extLst>
              </p:cNvPr>
              <p:cNvCxnSpPr/>
              <p:nvPr/>
            </p:nvCxnSpPr>
            <p:spPr>
              <a:xfrm flipH="1">
                <a:off x="0" y="52549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B49511C0-4CC6-4C57-BD16-06DFA68C5177}"/>
                  </a:ext>
                </a:extLst>
              </p:cNvPr>
              <p:cNvCxnSpPr/>
              <p:nvPr/>
            </p:nvCxnSpPr>
            <p:spPr>
              <a:xfrm flipH="1">
                <a:off x="0" y="56001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823DBF0E-1AA8-4FBC-BFCF-C35A665C6AAD}"/>
                  </a:ext>
                </a:extLst>
              </p:cNvPr>
              <p:cNvCxnSpPr/>
              <p:nvPr/>
            </p:nvCxnSpPr>
            <p:spPr>
              <a:xfrm flipH="1">
                <a:off x="0" y="59453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16F927AE-A157-4A95-BD1F-5D4003848AE5}"/>
                  </a:ext>
                </a:extLst>
              </p:cNvPr>
              <p:cNvCxnSpPr/>
              <p:nvPr/>
            </p:nvCxnSpPr>
            <p:spPr>
              <a:xfrm flipH="1">
                <a:off x="0" y="11124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AF1893BF-3A5C-45A7-80A6-F95888D2C2E9}"/>
                  </a:ext>
                </a:extLst>
              </p:cNvPr>
              <p:cNvCxnSpPr/>
              <p:nvPr/>
            </p:nvCxnSpPr>
            <p:spPr>
              <a:xfrm flipH="1">
                <a:off x="0" y="7672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Margins">
              <a:extLst>
                <a:ext uri="{FF2B5EF4-FFF2-40B4-BE49-F238E27FC236}">
                  <a16:creationId xmlns:a16="http://schemas.microsoft.com/office/drawing/2014/main" id="{1987983C-C65D-47F1-8B52-9BB74C6156DF}"/>
                </a:ext>
              </a:extLst>
            </p:cNvPr>
            <p:cNvGrpSpPr/>
            <p:nvPr userDrawn="1"/>
          </p:nvGrpSpPr>
          <p:grpSpPr>
            <a:xfrm>
              <a:off x="0" y="-1"/>
              <a:ext cx="12192000" cy="6858001"/>
              <a:chOff x="0" y="-1"/>
              <a:chExt cx="12192000" cy="6858001"/>
            </a:xfrm>
          </p:grpSpPr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2D64F71A-57E0-44C6-B31D-7B42B82DD2CE}"/>
                  </a:ext>
                </a:extLst>
              </p:cNvPr>
              <p:cNvGrpSpPr/>
              <p:nvPr userDrawn="1"/>
            </p:nvGrpSpPr>
            <p:grpSpPr>
              <a:xfrm>
                <a:off x="450166" y="-1"/>
                <a:ext cx="11291668" cy="6858001"/>
                <a:chOff x="450166" y="-295422"/>
                <a:chExt cx="11291668" cy="7491047"/>
              </a:xfrm>
            </p:grpSpPr>
            <p:cxnSp>
              <p:nvCxnSpPr>
                <p:cNvPr id="103" name="Straight Connector 102">
                  <a:extLst>
                    <a:ext uri="{FF2B5EF4-FFF2-40B4-BE49-F238E27FC236}">
                      <a16:creationId xmlns:a16="http://schemas.microsoft.com/office/drawing/2014/main" id="{7D8CFD01-2438-4217-AA3E-AC3BA160D143}"/>
                    </a:ext>
                  </a:extLst>
                </p:cNvPr>
                <p:cNvCxnSpPr/>
                <p:nvPr/>
              </p:nvCxnSpPr>
              <p:spPr>
                <a:xfrm>
                  <a:off x="450166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Connector 103">
                  <a:extLst>
                    <a:ext uri="{FF2B5EF4-FFF2-40B4-BE49-F238E27FC236}">
                      <a16:creationId xmlns:a16="http://schemas.microsoft.com/office/drawing/2014/main" id="{09FDB0BB-10D1-469E-A843-451C93653F0B}"/>
                    </a:ext>
                  </a:extLst>
                </p:cNvPr>
                <p:cNvCxnSpPr/>
                <p:nvPr/>
              </p:nvCxnSpPr>
              <p:spPr>
                <a:xfrm>
                  <a:off x="11741834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23DA59C4-54B1-44E7-8615-E9D3B756CD6D}"/>
                  </a:ext>
                </a:extLst>
              </p:cNvPr>
              <p:cNvGrpSpPr/>
              <p:nvPr userDrawn="1"/>
            </p:nvGrpSpPr>
            <p:grpSpPr>
              <a:xfrm>
                <a:off x="0" y="422030"/>
                <a:ext cx="12192000" cy="5868573"/>
                <a:chOff x="0" y="422030"/>
                <a:chExt cx="12192000" cy="5868573"/>
              </a:xfrm>
            </p:grpSpPr>
            <p:cxnSp>
              <p:nvCxnSpPr>
                <p:cNvPr id="101" name="Straight Connector 100">
                  <a:extLst>
                    <a:ext uri="{FF2B5EF4-FFF2-40B4-BE49-F238E27FC236}">
                      <a16:creationId xmlns:a16="http://schemas.microsoft.com/office/drawing/2014/main" id="{25110C17-BFAC-419F-917B-35541EA792A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42203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Straight Connector 101">
                  <a:extLst>
                    <a:ext uri="{FF2B5EF4-FFF2-40B4-BE49-F238E27FC236}">
                      <a16:creationId xmlns:a16="http://schemas.microsoft.com/office/drawing/2014/main" id="{C9E58F6F-92A5-473B-9FED-3D90ECE09E5D}"/>
                    </a:ext>
                  </a:extLst>
                </p:cNvPr>
                <p:cNvCxnSpPr/>
                <p:nvPr userDrawn="1"/>
              </p:nvCxnSpPr>
              <p:spPr>
                <a:xfrm>
                  <a:off x="0" y="6290603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D0BD5319-1193-4438-BF01-B64CF6D0D212}"/>
                  </a:ext>
                </a:extLst>
              </p:cNvPr>
              <p:cNvGrpSpPr/>
              <p:nvPr userDrawn="1"/>
            </p:nvGrpSpPr>
            <p:grpSpPr>
              <a:xfrm>
                <a:off x="0" y="1457660"/>
                <a:ext cx="12192000" cy="345210"/>
                <a:chOff x="0" y="1457660"/>
                <a:chExt cx="12192000" cy="345210"/>
              </a:xfrm>
            </p:grpSpPr>
            <p:cxnSp>
              <p:nvCxnSpPr>
                <p:cNvPr id="99" name="Straight Connector 98">
                  <a:extLst>
                    <a:ext uri="{FF2B5EF4-FFF2-40B4-BE49-F238E27FC236}">
                      <a16:creationId xmlns:a16="http://schemas.microsoft.com/office/drawing/2014/main" id="{ED443DF1-4231-4D92-8DA5-C1F4B954AFC4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45766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Straight Connector 99">
                  <a:extLst>
                    <a:ext uri="{FF2B5EF4-FFF2-40B4-BE49-F238E27FC236}">
                      <a16:creationId xmlns:a16="http://schemas.microsoft.com/office/drawing/2014/main" id="{14C68D45-D4C2-497B-A9FF-6ADE11C36C5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80287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12471491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86373" y="2142265"/>
            <a:ext cx="6222977" cy="1470025"/>
          </a:xfrm>
        </p:spPr>
        <p:txBody>
          <a:bodyPr/>
          <a:lstStyle>
            <a:lvl1pPr>
              <a:lnSpc>
                <a:spcPct val="94000"/>
              </a:lnSpc>
              <a:defRPr sz="3600" baseline="0">
                <a:solidFill>
                  <a:srgbClr val="E90029"/>
                </a:solidFill>
              </a:defRPr>
            </a:lvl1pPr>
          </a:lstStyle>
          <a:p>
            <a:r>
              <a:rPr lang="en-US" dirty="0"/>
              <a:t>Type Title Here</a:t>
            </a:r>
            <a:br>
              <a:rPr lang="en-US" dirty="0"/>
            </a:br>
            <a:r>
              <a:rPr lang="en-US" dirty="0"/>
              <a:t>Not to Exceed</a:t>
            </a:r>
            <a:br>
              <a:rPr lang="en-US" dirty="0"/>
            </a:br>
            <a:r>
              <a:rPr lang="en-US" dirty="0"/>
              <a:t>Three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256410" y="1676400"/>
            <a:ext cx="2031681" cy="1057910"/>
          </a:xfr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rgbClr val="E90029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 Bold Arial</a:t>
            </a:r>
            <a:br>
              <a:rPr lang="en-US" dirty="0"/>
            </a:br>
            <a:r>
              <a:rPr lang="en-US" dirty="0"/>
              <a:t>All Else Regular Arial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-1727199" y="6118862"/>
            <a:ext cx="1625600" cy="365125"/>
          </a:xfrm>
        </p:spPr>
        <p:txBody>
          <a:bodyPr anchor="t"/>
          <a:lstStyle>
            <a:lvl1pPr>
              <a:defRPr>
                <a:solidFill>
                  <a:srgbClr val="E90029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8" name="Text Placeholder 197"/>
          <p:cNvSpPr>
            <a:spLocks noGrp="1"/>
          </p:cNvSpPr>
          <p:nvPr>
            <p:ph type="body" sz="quarter" idx="13" hasCustomPrompt="1"/>
          </p:nvPr>
        </p:nvSpPr>
        <p:spPr>
          <a:xfrm>
            <a:off x="886373" y="3744339"/>
            <a:ext cx="3263900" cy="18288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rgbClr val="E90029"/>
                </a:solidFill>
              </a:defRPr>
            </a:lvl1pPr>
          </a:lstStyle>
          <a:p>
            <a:pPr lvl="0"/>
            <a:r>
              <a:rPr lang="en-US" dirty="0"/>
              <a:t>Type Date Here</a:t>
            </a:r>
          </a:p>
        </p:txBody>
      </p:sp>
      <p:grpSp>
        <p:nvGrpSpPr>
          <p:cNvPr id="73" name="Group 72"/>
          <p:cNvGrpSpPr/>
          <p:nvPr userDrawn="1"/>
        </p:nvGrpSpPr>
        <p:grpSpPr>
          <a:xfrm>
            <a:off x="125446" y="-1"/>
            <a:ext cx="11936169" cy="3926205"/>
            <a:chOff x="125413" y="401319"/>
            <a:chExt cx="11933061" cy="4552115"/>
          </a:xfrm>
        </p:grpSpPr>
        <p:sp>
          <p:nvSpPr>
            <p:cNvPr id="74" name="Line 8"/>
            <p:cNvSpPr>
              <a:spLocks noChangeShapeType="1"/>
            </p:cNvSpPr>
            <p:nvPr/>
          </p:nvSpPr>
          <p:spPr bwMode="auto">
            <a:xfrm>
              <a:off x="506254" y="401319"/>
              <a:ext cx="0" cy="1190486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75" name="Line 49"/>
            <p:cNvSpPr>
              <a:spLocks noChangeShapeType="1"/>
            </p:cNvSpPr>
            <p:nvPr/>
          </p:nvSpPr>
          <p:spPr bwMode="auto">
            <a:xfrm>
              <a:off x="5711081" y="401320"/>
              <a:ext cx="0" cy="402336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76" name="Line 57"/>
            <p:cNvSpPr>
              <a:spLocks noChangeShapeType="1"/>
            </p:cNvSpPr>
            <p:nvPr/>
          </p:nvSpPr>
          <p:spPr bwMode="auto">
            <a:xfrm>
              <a:off x="6726657" y="401320"/>
              <a:ext cx="0" cy="402336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77" name="Line 5"/>
            <p:cNvSpPr>
              <a:spLocks noChangeShapeType="1"/>
            </p:cNvSpPr>
            <p:nvPr/>
          </p:nvSpPr>
          <p:spPr bwMode="auto">
            <a:xfrm>
              <a:off x="125413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78" name="Line 6"/>
            <p:cNvSpPr>
              <a:spLocks noChangeShapeType="1"/>
            </p:cNvSpPr>
            <p:nvPr/>
          </p:nvSpPr>
          <p:spPr bwMode="auto">
            <a:xfrm>
              <a:off x="252360" y="401320"/>
              <a:ext cx="0" cy="79513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79" name="Line 7"/>
            <p:cNvSpPr>
              <a:spLocks noChangeShapeType="1"/>
            </p:cNvSpPr>
            <p:nvPr/>
          </p:nvSpPr>
          <p:spPr bwMode="auto">
            <a:xfrm>
              <a:off x="379307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80" name="Line 9"/>
            <p:cNvSpPr>
              <a:spLocks noChangeShapeType="1"/>
            </p:cNvSpPr>
            <p:nvPr/>
          </p:nvSpPr>
          <p:spPr bwMode="auto">
            <a:xfrm>
              <a:off x="633201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81" name="Line 10"/>
            <p:cNvSpPr>
              <a:spLocks noChangeShapeType="1"/>
            </p:cNvSpPr>
            <p:nvPr/>
          </p:nvSpPr>
          <p:spPr bwMode="auto">
            <a:xfrm>
              <a:off x="760148" y="401319"/>
              <a:ext cx="0" cy="4552115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82" name="Line 11"/>
            <p:cNvSpPr>
              <a:spLocks noChangeShapeType="1"/>
            </p:cNvSpPr>
            <p:nvPr/>
          </p:nvSpPr>
          <p:spPr bwMode="auto">
            <a:xfrm>
              <a:off x="887095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83" name="Line 12"/>
            <p:cNvSpPr>
              <a:spLocks noChangeShapeType="1"/>
            </p:cNvSpPr>
            <p:nvPr/>
          </p:nvSpPr>
          <p:spPr bwMode="auto">
            <a:xfrm>
              <a:off x="1014042" y="401320"/>
              <a:ext cx="0" cy="1187394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84" name="Line 13"/>
            <p:cNvSpPr>
              <a:spLocks noChangeShapeType="1"/>
            </p:cNvSpPr>
            <p:nvPr/>
          </p:nvSpPr>
          <p:spPr bwMode="auto">
            <a:xfrm>
              <a:off x="1140989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85" name="Line 14"/>
            <p:cNvSpPr>
              <a:spLocks noChangeShapeType="1"/>
            </p:cNvSpPr>
            <p:nvPr/>
          </p:nvSpPr>
          <p:spPr bwMode="auto">
            <a:xfrm>
              <a:off x="1267936" y="401320"/>
              <a:ext cx="0" cy="79513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86" name="Line 15"/>
            <p:cNvSpPr>
              <a:spLocks noChangeShapeType="1"/>
            </p:cNvSpPr>
            <p:nvPr/>
          </p:nvSpPr>
          <p:spPr bwMode="auto">
            <a:xfrm>
              <a:off x="1394883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87" name="Line 16"/>
            <p:cNvSpPr>
              <a:spLocks noChangeShapeType="1"/>
            </p:cNvSpPr>
            <p:nvPr/>
          </p:nvSpPr>
          <p:spPr bwMode="auto">
            <a:xfrm>
              <a:off x="1521830" y="401320"/>
              <a:ext cx="0" cy="1187393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88" name="Line 17"/>
            <p:cNvSpPr>
              <a:spLocks noChangeShapeType="1"/>
            </p:cNvSpPr>
            <p:nvPr/>
          </p:nvSpPr>
          <p:spPr bwMode="auto">
            <a:xfrm>
              <a:off x="1648777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89" name="Line 18"/>
            <p:cNvSpPr>
              <a:spLocks noChangeShapeType="1"/>
            </p:cNvSpPr>
            <p:nvPr/>
          </p:nvSpPr>
          <p:spPr bwMode="auto">
            <a:xfrm>
              <a:off x="1775724" y="401320"/>
              <a:ext cx="0" cy="795129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90" name="Line 19"/>
            <p:cNvSpPr>
              <a:spLocks noChangeShapeType="1"/>
            </p:cNvSpPr>
            <p:nvPr/>
          </p:nvSpPr>
          <p:spPr bwMode="auto">
            <a:xfrm>
              <a:off x="1902671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91" name="Line 20"/>
            <p:cNvSpPr>
              <a:spLocks noChangeShapeType="1"/>
            </p:cNvSpPr>
            <p:nvPr/>
          </p:nvSpPr>
          <p:spPr bwMode="auto">
            <a:xfrm>
              <a:off x="2029618" y="401320"/>
              <a:ext cx="0" cy="1187393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92" name="Line 21"/>
            <p:cNvSpPr>
              <a:spLocks noChangeShapeType="1"/>
            </p:cNvSpPr>
            <p:nvPr/>
          </p:nvSpPr>
          <p:spPr bwMode="auto">
            <a:xfrm>
              <a:off x="2156565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93" name="Line 22"/>
            <p:cNvSpPr>
              <a:spLocks noChangeShapeType="1"/>
            </p:cNvSpPr>
            <p:nvPr/>
          </p:nvSpPr>
          <p:spPr bwMode="auto">
            <a:xfrm>
              <a:off x="2283512" y="401320"/>
              <a:ext cx="0" cy="795129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94" name="Line 23"/>
            <p:cNvSpPr>
              <a:spLocks noChangeShapeType="1"/>
            </p:cNvSpPr>
            <p:nvPr/>
          </p:nvSpPr>
          <p:spPr bwMode="auto">
            <a:xfrm>
              <a:off x="2410459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95" name="Line 24"/>
            <p:cNvSpPr>
              <a:spLocks noChangeShapeType="1"/>
            </p:cNvSpPr>
            <p:nvPr/>
          </p:nvSpPr>
          <p:spPr bwMode="auto">
            <a:xfrm>
              <a:off x="2537406" y="401320"/>
              <a:ext cx="0" cy="1187393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96" name="Line 25"/>
            <p:cNvSpPr>
              <a:spLocks noChangeShapeType="1"/>
            </p:cNvSpPr>
            <p:nvPr/>
          </p:nvSpPr>
          <p:spPr bwMode="auto">
            <a:xfrm>
              <a:off x="2664353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97" name="Line 26"/>
            <p:cNvSpPr>
              <a:spLocks noChangeShapeType="1"/>
            </p:cNvSpPr>
            <p:nvPr/>
          </p:nvSpPr>
          <p:spPr bwMode="auto">
            <a:xfrm>
              <a:off x="2791300" y="401320"/>
              <a:ext cx="0" cy="795129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98" name="Line 27"/>
            <p:cNvSpPr>
              <a:spLocks noChangeShapeType="1"/>
            </p:cNvSpPr>
            <p:nvPr/>
          </p:nvSpPr>
          <p:spPr bwMode="auto">
            <a:xfrm>
              <a:off x="2918247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99" name="Line 28"/>
            <p:cNvSpPr>
              <a:spLocks noChangeShapeType="1"/>
            </p:cNvSpPr>
            <p:nvPr/>
          </p:nvSpPr>
          <p:spPr bwMode="auto">
            <a:xfrm>
              <a:off x="3045194" y="401320"/>
              <a:ext cx="0" cy="1187393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0" name="Line 29"/>
            <p:cNvSpPr>
              <a:spLocks noChangeShapeType="1"/>
            </p:cNvSpPr>
            <p:nvPr/>
          </p:nvSpPr>
          <p:spPr bwMode="auto">
            <a:xfrm>
              <a:off x="3172141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1" name="Line 30"/>
            <p:cNvSpPr>
              <a:spLocks noChangeShapeType="1"/>
            </p:cNvSpPr>
            <p:nvPr/>
          </p:nvSpPr>
          <p:spPr bwMode="auto">
            <a:xfrm>
              <a:off x="3299088" y="401320"/>
              <a:ext cx="0" cy="795129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2" name="Line 31"/>
            <p:cNvSpPr>
              <a:spLocks noChangeShapeType="1"/>
            </p:cNvSpPr>
            <p:nvPr/>
          </p:nvSpPr>
          <p:spPr bwMode="auto">
            <a:xfrm>
              <a:off x="3426035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3" name="Line 32"/>
            <p:cNvSpPr>
              <a:spLocks noChangeShapeType="1"/>
            </p:cNvSpPr>
            <p:nvPr/>
          </p:nvSpPr>
          <p:spPr bwMode="auto">
            <a:xfrm>
              <a:off x="3552982" y="401320"/>
              <a:ext cx="0" cy="1187393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4" name="Line 33"/>
            <p:cNvSpPr>
              <a:spLocks noChangeShapeType="1"/>
            </p:cNvSpPr>
            <p:nvPr/>
          </p:nvSpPr>
          <p:spPr bwMode="auto">
            <a:xfrm>
              <a:off x="3679929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5" name="Line 34"/>
            <p:cNvSpPr>
              <a:spLocks noChangeShapeType="1"/>
            </p:cNvSpPr>
            <p:nvPr/>
          </p:nvSpPr>
          <p:spPr bwMode="auto">
            <a:xfrm>
              <a:off x="3806876" y="401320"/>
              <a:ext cx="0" cy="795129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6" name="Line 35"/>
            <p:cNvSpPr>
              <a:spLocks noChangeShapeType="1"/>
            </p:cNvSpPr>
            <p:nvPr/>
          </p:nvSpPr>
          <p:spPr bwMode="auto">
            <a:xfrm>
              <a:off x="3933823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7" name="Line 36"/>
            <p:cNvSpPr>
              <a:spLocks noChangeShapeType="1"/>
            </p:cNvSpPr>
            <p:nvPr/>
          </p:nvSpPr>
          <p:spPr bwMode="auto">
            <a:xfrm>
              <a:off x="4060770" y="401320"/>
              <a:ext cx="0" cy="1187393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8" name="Line 37"/>
            <p:cNvSpPr>
              <a:spLocks noChangeShapeType="1"/>
            </p:cNvSpPr>
            <p:nvPr/>
          </p:nvSpPr>
          <p:spPr bwMode="auto">
            <a:xfrm>
              <a:off x="4187717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9" name="Line 38"/>
            <p:cNvSpPr>
              <a:spLocks noChangeShapeType="1"/>
            </p:cNvSpPr>
            <p:nvPr/>
          </p:nvSpPr>
          <p:spPr bwMode="auto">
            <a:xfrm>
              <a:off x="4314664" y="401320"/>
              <a:ext cx="0" cy="795129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0" name="Line 39"/>
            <p:cNvSpPr>
              <a:spLocks noChangeShapeType="1"/>
            </p:cNvSpPr>
            <p:nvPr/>
          </p:nvSpPr>
          <p:spPr bwMode="auto">
            <a:xfrm>
              <a:off x="4441611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1" name="Line 40"/>
            <p:cNvSpPr>
              <a:spLocks noChangeShapeType="1"/>
            </p:cNvSpPr>
            <p:nvPr/>
          </p:nvSpPr>
          <p:spPr bwMode="auto">
            <a:xfrm>
              <a:off x="4568558" y="401320"/>
              <a:ext cx="0" cy="1187393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2" name="Line 41"/>
            <p:cNvSpPr>
              <a:spLocks noChangeShapeType="1"/>
            </p:cNvSpPr>
            <p:nvPr/>
          </p:nvSpPr>
          <p:spPr bwMode="auto">
            <a:xfrm>
              <a:off x="4695505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3" name="Line 42"/>
            <p:cNvSpPr>
              <a:spLocks noChangeShapeType="1"/>
            </p:cNvSpPr>
            <p:nvPr/>
          </p:nvSpPr>
          <p:spPr bwMode="auto">
            <a:xfrm>
              <a:off x="4822452" y="401320"/>
              <a:ext cx="0" cy="795129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4" name="Line 43"/>
            <p:cNvSpPr>
              <a:spLocks noChangeShapeType="1"/>
            </p:cNvSpPr>
            <p:nvPr/>
          </p:nvSpPr>
          <p:spPr bwMode="auto">
            <a:xfrm>
              <a:off x="4949399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5" name="Line 44"/>
            <p:cNvSpPr>
              <a:spLocks noChangeShapeType="1"/>
            </p:cNvSpPr>
            <p:nvPr/>
          </p:nvSpPr>
          <p:spPr bwMode="auto">
            <a:xfrm>
              <a:off x="5076346" y="401320"/>
              <a:ext cx="0" cy="1187393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6" name="Line 45"/>
            <p:cNvSpPr>
              <a:spLocks noChangeShapeType="1"/>
            </p:cNvSpPr>
            <p:nvPr/>
          </p:nvSpPr>
          <p:spPr bwMode="auto">
            <a:xfrm>
              <a:off x="5203293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7" name="Line 46"/>
            <p:cNvSpPr>
              <a:spLocks noChangeShapeType="1"/>
            </p:cNvSpPr>
            <p:nvPr/>
          </p:nvSpPr>
          <p:spPr bwMode="auto">
            <a:xfrm>
              <a:off x="5330240" y="401320"/>
              <a:ext cx="0" cy="795129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8" name="Line 47"/>
            <p:cNvSpPr>
              <a:spLocks noChangeShapeType="1"/>
            </p:cNvSpPr>
            <p:nvPr/>
          </p:nvSpPr>
          <p:spPr bwMode="auto">
            <a:xfrm>
              <a:off x="5457187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9" name="Line 48"/>
            <p:cNvSpPr>
              <a:spLocks noChangeShapeType="1"/>
            </p:cNvSpPr>
            <p:nvPr/>
          </p:nvSpPr>
          <p:spPr bwMode="auto">
            <a:xfrm>
              <a:off x="5584134" y="401320"/>
              <a:ext cx="0" cy="1187393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0" name="Line 50"/>
            <p:cNvSpPr>
              <a:spLocks noChangeShapeType="1"/>
            </p:cNvSpPr>
            <p:nvPr/>
          </p:nvSpPr>
          <p:spPr bwMode="auto">
            <a:xfrm>
              <a:off x="5838028" y="401320"/>
              <a:ext cx="0" cy="795129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1" name="Line 51"/>
            <p:cNvSpPr>
              <a:spLocks noChangeShapeType="1"/>
            </p:cNvSpPr>
            <p:nvPr/>
          </p:nvSpPr>
          <p:spPr bwMode="auto">
            <a:xfrm>
              <a:off x="5964975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2" name="Line 52"/>
            <p:cNvSpPr>
              <a:spLocks noChangeShapeType="1"/>
            </p:cNvSpPr>
            <p:nvPr/>
          </p:nvSpPr>
          <p:spPr bwMode="auto">
            <a:xfrm>
              <a:off x="6091922" y="401320"/>
              <a:ext cx="0" cy="1187393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3" name="Line 53"/>
            <p:cNvSpPr>
              <a:spLocks noChangeShapeType="1"/>
            </p:cNvSpPr>
            <p:nvPr/>
          </p:nvSpPr>
          <p:spPr bwMode="auto">
            <a:xfrm>
              <a:off x="6218869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4" name="Line 54"/>
            <p:cNvSpPr>
              <a:spLocks noChangeShapeType="1"/>
            </p:cNvSpPr>
            <p:nvPr/>
          </p:nvSpPr>
          <p:spPr bwMode="auto">
            <a:xfrm>
              <a:off x="6345816" y="401320"/>
              <a:ext cx="0" cy="795129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5" name="Line 55"/>
            <p:cNvSpPr>
              <a:spLocks noChangeShapeType="1"/>
            </p:cNvSpPr>
            <p:nvPr/>
          </p:nvSpPr>
          <p:spPr bwMode="auto">
            <a:xfrm>
              <a:off x="6472763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6" name="Line 56"/>
            <p:cNvSpPr>
              <a:spLocks noChangeShapeType="1"/>
            </p:cNvSpPr>
            <p:nvPr/>
          </p:nvSpPr>
          <p:spPr bwMode="auto">
            <a:xfrm>
              <a:off x="6599710" y="401320"/>
              <a:ext cx="0" cy="1187393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7" name="Line 58"/>
            <p:cNvSpPr>
              <a:spLocks noChangeShapeType="1"/>
            </p:cNvSpPr>
            <p:nvPr/>
          </p:nvSpPr>
          <p:spPr bwMode="auto">
            <a:xfrm>
              <a:off x="6853604" y="401320"/>
              <a:ext cx="0" cy="795129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8" name="Line 59"/>
            <p:cNvSpPr>
              <a:spLocks noChangeShapeType="1"/>
            </p:cNvSpPr>
            <p:nvPr/>
          </p:nvSpPr>
          <p:spPr bwMode="auto">
            <a:xfrm>
              <a:off x="6980551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9" name="Line 60"/>
            <p:cNvSpPr>
              <a:spLocks noChangeShapeType="1"/>
            </p:cNvSpPr>
            <p:nvPr/>
          </p:nvSpPr>
          <p:spPr bwMode="auto">
            <a:xfrm>
              <a:off x="7107498" y="404330"/>
              <a:ext cx="0" cy="1187393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0" name="Line 61"/>
            <p:cNvSpPr>
              <a:spLocks noChangeShapeType="1"/>
            </p:cNvSpPr>
            <p:nvPr/>
          </p:nvSpPr>
          <p:spPr bwMode="auto">
            <a:xfrm>
              <a:off x="7234445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1" name="Line 62"/>
            <p:cNvSpPr>
              <a:spLocks noChangeShapeType="1"/>
            </p:cNvSpPr>
            <p:nvPr/>
          </p:nvSpPr>
          <p:spPr bwMode="auto">
            <a:xfrm>
              <a:off x="7361392" y="401320"/>
              <a:ext cx="0" cy="795129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2" name="Line 63"/>
            <p:cNvSpPr>
              <a:spLocks noChangeShapeType="1"/>
            </p:cNvSpPr>
            <p:nvPr/>
          </p:nvSpPr>
          <p:spPr bwMode="auto">
            <a:xfrm>
              <a:off x="7488339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3" name="Line 64"/>
            <p:cNvSpPr>
              <a:spLocks noChangeShapeType="1"/>
            </p:cNvSpPr>
            <p:nvPr/>
          </p:nvSpPr>
          <p:spPr bwMode="auto">
            <a:xfrm>
              <a:off x="7615286" y="401320"/>
              <a:ext cx="0" cy="1187393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4" name="Line 8"/>
            <p:cNvSpPr>
              <a:spLocks noChangeShapeType="1"/>
            </p:cNvSpPr>
            <p:nvPr/>
          </p:nvSpPr>
          <p:spPr bwMode="auto">
            <a:xfrm>
              <a:off x="8123074" y="401319"/>
              <a:ext cx="0" cy="3180517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5" name="Line 5"/>
            <p:cNvSpPr>
              <a:spLocks noChangeShapeType="1"/>
            </p:cNvSpPr>
            <p:nvPr/>
          </p:nvSpPr>
          <p:spPr bwMode="auto">
            <a:xfrm>
              <a:off x="7742233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97" name="Line 6"/>
            <p:cNvSpPr>
              <a:spLocks noChangeShapeType="1"/>
            </p:cNvSpPr>
            <p:nvPr/>
          </p:nvSpPr>
          <p:spPr bwMode="auto">
            <a:xfrm>
              <a:off x="7869180" y="401320"/>
              <a:ext cx="0" cy="795129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99" name="Line 7"/>
            <p:cNvSpPr>
              <a:spLocks noChangeShapeType="1"/>
            </p:cNvSpPr>
            <p:nvPr/>
          </p:nvSpPr>
          <p:spPr bwMode="auto">
            <a:xfrm>
              <a:off x="7996127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01" name="Line 9"/>
            <p:cNvSpPr>
              <a:spLocks noChangeShapeType="1"/>
            </p:cNvSpPr>
            <p:nvPr/>
          </p:nvSpPr>
          <p:spPr bwMode="auto">
            <a:xfrm>
              <a:off x="8250021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02" name="Line 10"/>
            <p:cNvSpPr>
              <a:spLocks noChangeShapeType="1"/>
            </p:cNvSpPr>
            <p:nvPr/>
          </p:nvSpPr>
          <p:spPr bwMode="auto">
            <a:xfrm>
              <a:off x="8376968" y="401320"/>
              <a:ext cx="0" cy="795129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03" name="Line 11"/>
            <p:cNvSpPr>
              <a:spLocks noChangeShapeType="1"/>
            </p:cNvSpPr>
            <p:nvPr/>
          </p:nvSpPr>
          <p:spPr bwMode="auto">
            <a:xfrm>
              <a:off x="8503915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04" name="Line 12"/>
            <p:cNvSpPr>
              <a:spLocks noChangeShapeType="1"/>
            </p:cNvSpPr>
            <p:nvPr/>
          </p:nvSpPr>
          <p:spPr bwMode="auto">
            <a:xfrm>
              <a:off x="8630862" y="401320"/>
              <a:ext cx="0" cy="1187393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05" name="Line 13"/>
            <p:cNvSpPr>
              <a:spLocks noChangeShapeType="1"/>
            </p:cNvSpPr>
            <p:nvPr/>
          </p:nvSpPr>
          <p:spPr bwMode="auto">
            <a:xfrm>
              <a:off x="8757809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06" name="Line 14"/>
            <p:cNvSpPr>
              <a:spLocks noChangeShapeType="1"/>
            </p:cNvSpPr>
            <p:nvPr/>
          </p:nvSpPr>
          <p:spPr bwMode="auto">
            <a:xfrm>
              <a:off x="8884756" y="401320"/>
              <a:ext cx="0" cy="795129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07" name="Line 15"/>
            <p:cNvSpPr>
              <a:spLocks noChangeShapeType="1"/>
            </p:cNvSpPr>
            <p:nvPr/>
          </p:nvSpPr>
          <p:spPr bwMode="auto">
            <a:xfrm>
              <a:off x="9011703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08" name="Line 16"/>
            <p:cNvSpPr>
              <a:spLocks noChangeShapeType="1"/>
            </p:cNvSpPr>
            <p:nvPr/>
          </p:nvSpPr>
          <p:spPr bwMode="auto">
            <a:xfrm>
              <a:off x="9138650" y="401320"/>
              <a:ext cx="0" cy="1187393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09" name="Line 17"/>
            <p:cNvSpPr>
              <a:spLocks noChangeShapeType="1"/>
            </p:cNvSpPr>
            <p:nvPr/>
          </p:nvSpPr>
          <p:spPr bwMode="auto">
            <a:xfrm>
              <a:off x="9265597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10" name="Line 18"/>
            <p:cNvSpPr>
              <a:spLocks noChangeShapeType="1"/>
            </p:cNvSpPr>
            <p:nvPr/>
          </p:nvSpPr>
          <p:spPr bwMode="auto">
            <a:xfrm>
              <a:off x="9392544" y="401320"/>
              <a:ext cx="0" cy="795129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11" name="Line 19"/>
            <p:cNvSpPr>
              <a:spLocks noChangeShapeType="1"/>
            </p:cNvSpPr>
            <p:nvPr/>
          </p:nvSpPr>
          <p:spPr bwMode="auto">
            <a:xfrm>
              <a:off x="9519491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12" name="Line 20"/>
            <p:cNvSpPr>
              <a:spLocks noChangeShapeType="1"/>
            </p:cNvSpPr>
            <p:nvPr/>
          </p:nvSpPr>
          <p:spPr bwMode="auto">
            <a:xfrm>
              <a:off x="9646438" y="401320"/>
              <a:ext cx="0" cy="1187393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13" name="Line 21"/>
            <p:cNvSpPr>
              <a:spLocks noChangeShapeType="1"/>
            </p:cNvSpPr>
            <p:nvPr/>
          </p:nvSpPr>
          <p:spPr bwMode="auto">
            <a:xfrm>
              <a:off x="9773385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14" name="Line 22"/>
            <p:cNvSpPr>
              <a:spLocks noChangeShapeType="1"/>
            </p:cNvSpPr>
            <p:nvPr/>
          </p:nvSpPr>
          <p:spPr bwMode="auto">
            <a:xfrm>
              <a:off x="9900332" y="401320"/>
              <a:ext cx="0" cy="795129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15" name="Line 23"/>
            <p:cNvSpPr>
              <a:spLocks noChangeShapeType="1"/>
            </p:cNvSpPr>
            <p:nvPr/>
          </p:nvSpPr>
          <p:spPr bwMode="auto">
            <a:xfrm>
              <a:off x="10027279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16" name="Line 24"/>
            <p:cNvSpPr>
              <a:spLocks noChangeShapeType="1"/>
            </p:cNvSpPr>
            <p:nvPr/>
          </p:nvSpPr>
          <p:spPr bwMode="auto">
            <a:xfrm>
              <a:off x="10154226" y="401320"/>
              <a:ext cx="0" cy="1187393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17" name="Line 25"/>
            <p:cNvSpPr>
              <a:spLocks noChangeShapeType="1"/>
            </p:cNvSpPr>
            <p:nvPr/>
          </p:nvSpPr>
          <p:spPr bwMode="auto">
            <a:xfrm>
              <a:off x="10281173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18" name="Line 26"/>
            <p:cNvSpPr>
              <a:spLocks noChangeShapeType="1"/>
            </p:cNvSpPr>
            <p:nvPr/>
          </p:nvSpPr>
          <p:spPr bwMode="auto">
            <a:xfrm>
              <a:off x="10408120" y="401320"/>
              <a:ext cx="0" cy="795129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19" name="Line 27"/>
            <p:cNvSpPr>
              <a:spLocks noChangeShapeType="1"/>
            </p:cNvSpPr>
            <p:nvPr/>
          </p:nvSpPr>
          <p:spPr bwMode="auto">
            <a:xfrm>
              <a:off x="10535067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0" name="Line 28"/>
            <p:cNvSpPr>
              <a:spLocks noChangeShapeType="1"/>
            </p:cNvSpPr>
            <p:nvPr/>
          </p:nvSpPr>
          <p:spPr bwMode="auto">
            <a:xfrm>
              <a:off x="10662014" y="401320"/>
              <a:ext cx="0" cy="1187393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1" name="Line 29"/>
            <p:cNvSpPr>
              <a:spLocks noChangeShapeType="1"/>
            </p:cNvSpPr>
            <p:nvPr/>
          </p:nvSpPr>
          <p:spPr bwMode="auto">
            <a:xfrm>
              <a:off x="10788961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2" name="Line 30"/>
            <p:cNvSpPr>
              <a:spLocks noChangeShapeType="1"/>
            </p:cNvSpPr>
            <p:nvPr/>
          </p:nvSpPr>
          <p:spPr bwMode="auto">
            <a:xfrm>
              <a:off x="10915908" y="401320"/>
              <a:ext cx="0" cy="795129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3" name="Line 31"/>
            <p:cNvSpPr>
              <a:spLocks noChangeShapeType="1"/>
            </p:cNvSpPr>
            <p:nvPr/>
          </p:nvSpPr>
          <p:spPr bwMode="auto">
            <a:xfrm>
              <a:off x="11042855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4" name="Line 32"/>
            <p:cNvSpPr>
              <a:spLocks noChangeShapeType="1"/>
            </p:cNvSpPr>
            <p:nvPr/>
          </p:nvSpPr>
          <p:spPr bwMode="auto">
            <a:xfrm>
              <a:off x="11169802" y="401320"/>
              <a:ext cx="0" cy="1187393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5" name="Line 33"/>
            <p:cNvSpPr>
              <a:spLocks noChangeShapeType="1"/>
            </p:cNvSpPr>
            <p:nvPr/>
          </p:nvSpPr>
          <p:spPr bwMode="auto">
            <a:xfrm>
              <a:off x="11296749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6" name="Line 34"/>
            <p:cNvSpPr>
              <a:spLocks noChangeShapeType="1"/>
            </p:cNvSpPr>
            <p:nvPr/>
          </p:nvSpPr>
          <p:spPr bwMode="auto">
            <a:xfrm>
              <a:off x="11423696" y="401320"/>
              <a:ext cx="0" cy="795129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7" name="Line 35"/>
            <p:cNvSpPr>
              <a:spLocks noChangeShapeType="1"/>
            </p:cNvSpPr>
            <p:nvPr/>
          </p:nvSpPr>
          <p:spPr bwMode="auto">
            <a:xfrm>
              <a:off x="11550643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8" name="Line 36"/>
            <p:cNvSpPr>
              <a:spLocks noChangeShapeType="1"/>
            </p:cNvSpPr>
            <p:nvPr/>
          </p:nvSpPr>
          <p:spPr bwMode="auto">
            <a:xfrm>
              <a:off x="11677590" y="401320"/>
              <a:ext cx="0" cy="1187393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9" name="Line 37"/>
            <p:cNvSpPr>
              <a:spLocks noChangeShapeType="1"/>
            </p:cNvSpPr>
            <p:nvPr/>
          </p:nvSpPr>
          <p:spPr bwMode="auto">
            <a:xfrm>
              <a:off x="11804537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30" name="Line 38"/>
            <p:cNvSpPr>
              <a:spLocks noChangeShapeType="1"/>
            </p:cNvSpPr>
            <p:nvPr/>
          </p:nvSpPr>
          <p:spPr bwMode="auto">
            <a:xfrm>
              <a:off x="11931484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31" name="Line 39"/>
            <p:cNvSpPr>
              <a:spLocks noChangeShapeType="1"/>
            </p:cNvSpPr>
            <p:nvPr/>
          </p:nvSpPr>
          <p:spPr bwMode="auto">
            <a:xfrm>
              <a:off x="12058474" y="401320"/>
              <a:ext cx="0" cy="403390"/>
            </a:xfrm>
            <a:prstGeom prst="line">
              <a:avLst/>
            </a:prstGeom>
            <a:noFill/>
            <a:ln w="6350" cap="flat">
              <a:solidFill>
                <a:srgbClr val="E81D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pic>
        <p:nvPicPr>
          <p:cNvPr id="136" name="Picture 13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896" y="6226176"/>
            <a:ext cx="1833130" cy="423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875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B43DC9BF-B86E-41C3-9025-257603C6C46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03C20BBD-F2FD-4A4D-B556-572D7207BCE8}"/>
              </a:ext>
            </a:extLst>
          </p:cNvPr>
          <p:cNvSpPr/>
          <p:nvPr userDrawn="1"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34" name="Logo">
            <a:extLst>
              <a:ext uri="{FF2B5EF4-FFF2-40B4-BE49-F238E27FC236}">
                <a16:creationId xmlns:a16="http://schemas.microsoft.com/office/drawing/2014/main" id="{E3F269C9-4FA8-4772-AD37-31EE93FFE599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09D9C9E1-25E5-483A-B7BC-660D3D3BFE4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98453535-0FA3-4BC2-896D-B75809B1977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7" name="Ruler">
            <a:extLst>
              <a:ext uri="{FF2B5EF4-FFF2-40B4-BE49-F238E27FC236}">
                <a16:creationId xmlns:a16="http://schemas.microsoft.com/office/drawing/2014/main" id="{70E5BD5C-60C7-4101-99EB-CFC9224AD7B1}"/>
              </a:ext>
            </a:extLst>
          </p:cNvPr>
          <p:cNvGrpSpPr/>
          <p:nvPr userDrawn="1"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2B101E02-F838-4187-B559-8AAE85AB8E2C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704FBA9-913D-4B32-AC77-21FE53C0763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F7620BDF-DEE5-4359-9427-F80C2D3B2F2A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609FFEF8-C551-442A-BFBE-82B27BAA70D4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030E7191-0FEE-4B6B-AAE0-7E6505AAFF96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0B20760-2C74-490B-8779-0A3CEC331376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2C7CD8C-10E9-4C4D-AF46-8EAA7E7B84D7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1A9DBD41-B998-4B1C-A2AD-746277984ECF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80011DFB-F9A6-4F90-A169-06A40F2D4491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1FCB742D-4AAE-446A-95AF-D86CE705B38D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A3622024-A6FB-4862-AAA9-378E17CB2F6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0DDF8BE4-F228-4207-9F16-38714201F036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0F0D7718-987E-4A31-88D8-257BD9D16439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E1895AC8-2DE9-4C57-9175-D6619461AA6A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615B7B8D-36D9-46DB-BDD6-8D7FCA31766A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81AF8FD-CBB7-47C3-92D4-68F412B850C3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075397F3-9A79-4A57-9C34-2D06B47E2F34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E17F042D-D6EC-49C7-8409-4FB587063A25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7F47560C-6D83-4B1E-A656-E798CCE71DB3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Speaker Name">
            <a:extLst>
              <a:ext uri="{FF2B5EF4-FFF2-40B4-BE49-F238E27FC236}">
                <a16:creationId xmlns:a16="http://schemas.microsoft.com/office/drawing/2014/main" id="{0D03EEEE-B07B-48F4-B55F-C322BA4FCC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Name</a:t>
            </a:r>
          </a:p>
        </p:txBody>
      </p:sp>
      <p:sp>
        <p:nvSpPr>
          <p:cNvPr id="58" name="Text Placeholder 128">
            <a:extLst>
              <a:ext uri="{FF2B5EF4-FFF2-40B4-BE49-F238E27FC236}">
                <a16:creationId xmlns:a16="http://schemas.microsoft.com/office/drawing/2014/main" id="{02F3F674-6E3E-4B4F-A461-192B2E1A3E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 dirty="0"/>
              <a:t>YYYY.MM.DD</a:t>
            </a:r>
          </a:p>
        </p:txBody>
      </p:sp>
      <p:sp>
        <p:nvSpPr>
          <p:cNvPr id="59" name="Speaker Title">
            <a:extLst>
              <a:ext uri="{FF2B5EF4-FFF2-40B4-BE49-F238E27FC236}">
                <a16:creationId xmlns:a16="http://schemas.microsoft.com/office/drawing/2014/main" id="{058F1415-E1D6-47DA-A185-76C3FC2257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Title / Company Name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5B3A83E2-FA5C-4BC9-8B76-2DE81BEB61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3329295" y="2440333"/>
            <a:ext cx="5533406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 algn="ctr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4F1EC20-D177-4F9A-AF02-5ABB483C64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935570"/>
            <a:ext cx="9372600" cy="1335024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 dirty="0"/>
              <a:t>Title Slide</a:t>
            </a:r>
            <a:br>
              <a:rPr lang="en-US" dirty="0"/>
            </a:br>
            <a:r>
              <a:rPr lang="en-US" dirty="0"/>
              <a:t>with Subtitle Lay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0DA467-6522-4105-A238-D69A42AC0280}"/>
              </a:ext>
            </a:extLst>
          </p:cNvPr>
          <p:cNvSpPr/>
          <p:nvPr userDrawn="1"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8351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ure">
            <a:extLst>
              <a:ext uri="{FF2B5EF4-FFF2-40B4-BE49-F238E27FC236}">
                <a16:creationId xmlns:a16="http://schemas.microsoft.com/office/drawing/2014/main" id="{8069FB3F-2D73-4C3F-A7A8-E6A22F71C3A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544ECD5-A100-4CBB-BE85-5E2DB93996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1034" b="37183"/>
          <a:stretch/>
        </p:blipFill>
        <p:spPr>
          <a:xfrm>
            <a:off x="0" y="5372101"/>
            <a:ext cx="2354138" cy="1485900"/>
          </a:xfrm>
          <a:prstGeom prst="rect">
            <a:avLst/>
          </a:prstGeom>
        </p:spPr>
      </p:pic>
      <p:sp>
        <p:nvSpPr>
          <p:cNvPr id="5" name="Subtitle">
            <a:extLst>
              <a:ext uri="{FF2B5EF4-FFF2-40B4-BE49-F238E27FC236}">
                <a16:creationId xmlns:a16="http://schemas.microsoft.com/office/drawing/2014/main" id="{1C588A51-7159-4E94-9856-B64483B8F9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479908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 (Delete if not used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DB11C21-4702-4664-8D59-793314F8EA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528919"/>
            <a:ext cx="9372600" cy="1214393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Segue Layou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052D0D-2EA4-4CCE-90FA-A02A78C3585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Keysight Automotive &amp; Energy Overview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C761C9BF-9222-4B2A-A19A-B5A2710D93B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8" name="Logo">
            <a:extLst>
              <a:ext uri="{FF2B5EF4-FFF2-40B4-BE49-F238E27FC236}">
                <a16:creationId xmlns:a16="http://schemas.microsoft.com/office/drawing/2014/main" id="{507CC42B-659C-4CD4-9F20-358BBD7B0A6B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648801B8-52B3-47AC-9853-2375E256E3A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64F20CB9-4127-4672-B9D3-714FA916023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9420317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ADC8EF-0ABA-4B52-AEA2-7A3943163E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Keysight Data Center Infrastructure Overview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2B8CEC4-B0CD-4400-A6AD-DD3E12310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</a:t>
            </a:r>
          </a:p>
        </p:txBody>
      </p:sp>
    </p:spTree>
    <p:extLst>
      <p:ext uri="{BB962C8B-B14F-4D97-AF65-F5344CB8AC3E}">
        <p14:creationId xmlns:p14="http://schemas.microsoft.com/office/powerpoint/2010/main" val="13761822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1129284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F94C0C-A1DE-4B4E-81B9-1791716845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Keysight Automotive &amp; Energy Overview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6CA66E-0730-4548-BD28-48477B0C3C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On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4500251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8776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08BA35-76C2-4ED8-B770-6CBDC27C821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Keysight Automotive &amp; Energy Overview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187FFC-2B63-49CE-B2BC-B238E1BC7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 Column Layout</a:t>
            </a:r>
          </a:p>
        </p:txBody>
      </p:sp>
    </p:spTree>
    <p:extLst>
      <p:ext uri="{BB962C8B-B14F-4D97-AF65-F5344CB8AC3E}">
        <p14:creationId xmlns:p14="http://schemas.microsoft.com/office/powerpoint/2010/main" val="1645166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E7D5292-8D24-405D-9E5D-79D2DD40F68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29016" y="1802869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89298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04F64A-6956-41D3-B0E4-CCC3453A7F7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Keysight Automotive &amp; Energy Overview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030608-2773-46C2-905B-B17C3B831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hre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3114457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99E3BF3-DA31-48DD-AC45-91FC2DBAAD4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51704" y="0"/>
            <a:ext cx="6940296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82296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Click icon below to insert pictur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1368"/>
            <a:ext cx="4206240" cy="448056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420624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.I.N.U.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051183-1C65-4067-A80F-CAB4F09E82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72339"/>
            <a:ext cx="4206240" cy="492443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Photo Right Layout</a:t>
            </a:r>
          </a:p>
        </p:txBody>
      </p:sp>
    </p:spTree>
    <p:extLst>
      <p:ext uri="{BB962C8B-B14F-4D97-AF65-F5344CB8AC3E}">
        <p14:creationId xmlns:p14="http://schemas.microsoft.com/office/powerpoint/2010/main" val="3141418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04A056E-0A81-49A4-A1E8-EC8E2D83F6A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447"/>
            <a:ext cx="12192000" cy="6857107"/>
          </a:xfrm>
          <a:solidFill>
            <a:schemeClr val="bg1">
              <a:lumMod val="85000"/>
            </a:schemeClr>
          </a:solidFill>
        </p:spPr>
        <p:txBody>
          <a:bodyPr bIns="640080" anchor="ctr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below to insert a picture</a:t>
            </a:r>
          </a:p>
        </p:txBody>
      </p:sp>
    </p:spTree>
    <p:extLst>
      <p:ext uri="{BB962C8B-B14F-4D97-AF65-F5344CB8AC3E}">
        <p14:creationId xmlns:p14="http://schemas.microsoft.com/office/powerpoint/2010/main" val="42518026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446518C-C5C5-4D58-B4D2-B85C0BD81B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/>
          <a:srcRect l="15280" b="23627"/>
          <a:stretch/>
        </p:blipFill>
        <p:spPr>
          <a:xfrm>
            <a:off x="0" y="6024563"/>
            <a:ext cx="2112478" cy="83343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098CF84-0D02-4614-8A26-93A1CB865A2B}"/>
              </a:ext>
            </a:extLst>
          </p:cNvPr>
          <p:cNvSpPr/>
          <p:nvPr userDrawn="1"/>
        </p:nvSpPr>
        <p:spPr>
          <a:xfrm>
            <a:off x="0" y="0"/>
            <a:ext cx="327025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773789E-1482-4DF2-AC34-ED595BC86F6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14A8E363-B738-48A5-915F-96EF63027B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9201" y="1802870"/>
            <a:ext cx="11293597" cy="44757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: Bullet, 20pt</a:t>
            </a:r>
          </a:p>
          <a:p>
            <a:pPr lvl="1"/>
            <a:r>
              <a:rPr lang="en-US" dirty="0"/>
              <a:t>Second level: Sub-bullet 1, 18pt</a:t>
            </a:r>
          </a:p>
          <a:p>
            <a:pPr lvl="2"/>
            <a:r>
              <a:rPr lang="en-US" dirty="0"/>
              <a:t>Third level: Sub-bullet 2, 16pt</a:t>
            </a:r>
          </a:p>
          <a:p>
            <a:pPr lvl="3"/>
            <a:r>
              <a:rPr lang="en-US" dirty="0"/>
              <a:t>Fourth level: Heading 1, 28pt</a:t>
            </a:r>
          </a:p>
          <a:p>
            <a:pPr lvl="4"/>
            <a:r>
              <a:rPr lang="en-US" dirty="0"/>
              <a:t>Fifth level: Description 1, 18pt</a:t>
            </a:r>
          </a:p>
          <a:p>
            <a:pPr lvl="5"/>
            <a:r>
              <a:rPr lang="en-US" dirty="0"/>
              <a:t>Sixth level: Heading 2, 22pt</a:t>
            </a:r>
          </a:p>
          <a:p>
            <a:pPr lvl="6"/>
            <a:r>
              <a:rPr lang="en-US" dirty="0"/>
              <a:t>Seventh level: Description 2, 16pt</a:t>
            </a:r>
          </a:p>
          <a:p>
            <a:pPr lvl="7"/>
            <a:r>
              <a:rPr lang="en-US" dirty="0"/>
              <a:t>Eighth level: Stats 1, 36pt</a:t>
            </a:r>
          </a:p>
          <a:p>
            <a:pPr lvl="8"/>
            <a:r>
              <a:rPr lang="en-US" dirty="0"/>
              <a:t>Ninth level: Stats 2, 48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49202" y="372339"/>
            <a:ext cx="11293597" cy="4924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, 32pt</a:t>
            </a:r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CBB5A743-284E-4F77-9C07-20F6113DB3B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BB597971-37D3-4BC0-93F4-2E4A0C596B8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710CFBDD-008A-42F6-B152-7F57EF7924F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B7BE8C-9254-49C6-B935-75CCECC5C1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47297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Keysight Automotive &amp; Energy Overview</a:t>
            </a:r>
          </a:p>
        </p:txBody>
      </p:sp>
    </p:spTree>
    <p:extLst>
      <p:ext uri="{BB962C8B-B14F-4D97-AF65-F5344CB8AC3E}">
        <p14:creationId xmlns:p14="http://schemas.microsoft.com/office/powerpoint/2010/main" val="3362308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20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698" r:id="rId9"/>
    <p:sldLayoutId id="2147483740" r:id="rId10"/>
    <p:sldLayoutId id="2147483735" r:id="rId11"/>
    <p:sldLayoutId id="2147483738" r:id="rId12"/>
    <p:sldLayoutId id="2147483737" r:id="rId13"/>
    <p:sldLayoutId id="2147483732" r:id="rId14"/>
    <p:sldLayoutId id="2147483728" r:id="rId15"/>
    <p:sldLayoutId id="2147483700" r:id="rId16"/>
    <p:sldLayoutId id="2147483729" r:id="rId17"/>
    <p:sldLayoutId id="2147483702" r:id="rId18"/>
    <p:sldLayoutId id="2147483741" r:id="rId19"/>
  </p:sldLayoutIdLst>
  <p:hf sldNum="0"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65760" indent="-182880" algn="l" defTabSz="914400" rtl="0" eaLnBrk="1" latinLnBrk="0" hangingPunct="1">
        <a:lnSpc>
          <a:spcPct val="10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30352" indent="-164592" algn="l" defTabSz="914400" rtl="0" eaLnBrk="1" latinLnBrk="0" hangingPunct="1">
        <a:lnSpc>
          <a:spcPct val="9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800"/>
        </a:spcBef>
        <a:spcAft>
          <a:spcPts val="600"/>
        </a:spcAft>
        <a:buFont typeface="Arial" panose="020B0604020202020204" pitchFamily="34" charset="0"/>
        <a:buChar char="​"/>
        <a:defRPr sz="2800" b="1" kern="1200" cap="all" spc="6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Font typeface="Arial" panose="020B0604020202020204" pitchFamily="34" charset="0"/>
        <a:buChar char="​"/>
        <a:defRPr lang="en-US" sz="1800" b="0" kern="1200" cap="none" spc="0" baseline="0" dirty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200" b="1" kern="1200" cap="all" spc="60" baseline="0" dirty="0" smtClean="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200"/>
        </a:spcBef>
        <a:spcAft>
          <a:spcPts val="600"/>
        </a:spcAft>
        <a:buFont typeface="Arial" panose="020B0604020202020204" pitchFamily="34" charset="0"/>
        <a:buChar char="​"/>
        <a:defRPr lang="en-US" sz="1600" kern="120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3600" b="1" i="1" kern="1200" dirty="0" smtClean="0">
          <a:solidFill>
            <a:schemeClr val="accent1"/>
          </a:solidFill>
          <a:latin typeface="+mn-lt"/>
          <a:ea typeface="+mn-ea"/>
          <a:cs typeface="+mn-cs"/>
        </a:defRPr>
      </a:lvl8pPr>
      <a:lvl9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4800" b="1" i="1" kern="1200" dirty="0" smtClean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11">
            <a:extLst>
              <a:ext uri="{FF2B5EF4-FFF2-40B4-BE49-F238E27FC236}">
                <a16:creationId xmlns:a16="http://schemas.microsoft.com/office/drawing/2014/main" id="{54CF9B56-8BA7-42DC-9E70-868F9E1F21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29295" y="2960490"/>
            <a:ext cx="4020340" cy="660888"/>
          </a:xfrm>
        </p:spPr>
        <p:txBody>
          <a:bodyPr/>
          <a:lstStyle/>
          <a:p>
            <a:r>
              <a:rPr lang="fi-FI" dirty="0"/>
              <a:t>Romansapien M</a:t>
            </a:r>
          </a:p>
          <a:p>
            <a:r>
              <a:rPr lang="fi-FI" dirty="0"/>
              <a:t>Kuifeng Clifford Hu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SEPT 201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E6F9CF-A56A-4933-94B6-50F35B01F7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22317" y="2440333"/>
            <a:ext cx="5553473" cy="393954"/>
          </a:xfrm>
        </p:spPr>
        <p:txBody>
          <a:bodyPr/>
          <a:lstStyle/>
          <a:p>
            <a:r>
              <a:rPr lang="en-US" dirty="0"/>
              <a:t>Support. Elevated.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7943FDE9-33E7-4432-9DEC-FDEC63F26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eyCard</a:t>
            </a:r>
            <a:r>
              <a:rPr lang="en-US" dirty="0"/>
              <a:t> </a:t>
            </a:r>
            <a:r>
              <a:rPr lang="en-US" sz="2000" dirty="0"/>
              <a:t>– </a:t>
            </a:r>
            <a:r>
              <a:rPr lang="en-US" sz="2400" dirty="0"/>
              <a:t>Dongle for  </a:t>
            </a:r>
            <a:r>
              <a:rPr lang="en-US" sz="2400" dirty="0" err="1"/>
              <a:t>KeysightCare</a:t>
            </a:r>
            <a:r>
              <a:rPr lang="en-US" sz="2400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023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flyer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6941" y="664731"/>
            <a:ext cx="7396372" cy="586090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88576" y="2782669"/>
            <a:ext cx="4474028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altLang="zh-CN" sz="6000" b="1" dirty="0" err="1">
                <a:solidFill>
                  <a:schemeClr val="accent1"/>
                </a:solidFill>
                <a:latin typeface="Arial" panose="020B0604020202020204"/>
                <a:ea typeface="黑体" panose="02010609060101010101" pitchFamily="49" charset="-122"/>
              </a:rPr>
              <a:t>KeyCard</a:t>
            </a:r>
            <a:endParaRPr lang="en-US" altLang="zh-CN" sz="6000" b="1" dirty="0">
              <a:solidFill>
                <a:schemeClr val="accent1"/>
              </a:solidFill>
              <a:latin typeface="Arial" panose="020B0604020202020204"/>
              <a:ea typeface="黑体" panose="02010609060101010101" pitchFamily="49" charset="-122"/>
            </a:endParaRPr>
          </a:p>
          <a:p>
            <a:pPr>
              <a:defRPr/>
            </a:pPr>
            <a:r>
              <a:rPr lang="en-US" altLang="zh-CN" sz="2400" b="1" dirty="0">
                <a:solidFill>
                  <a:schemeClr val="accent1"/>
                </a:solidFill>
                <a:latin typeface="Arial" panose="020B0604020202020204"/>
                <a:ea typeface="黑体" panose="02010609060101010101" pitchFamily="49" charset="-122"/>
              </a:rPr>
              <a:t>- Keysight Care Support</a:t>
            </a:r>
            <a:endParaRPr lang="zh-CN" altLang="en-US" sz="2400" b="1" dirty="0">
              <a:solidFill>
                <a:schemeClr val="accent1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38171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0E6A0C6-4657-47EF-A7D1-39AA068EE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card can help to address the following goals</a:t>
            </a:r>
          </a:p>
        </p:txBody>
      </p:sp>
      <p:pic>
        <p:nvPicPr>
          <p:cNvPr id="2" name="Picture 1" descr="Screen Shot 2018-11-27 at 11.11.31 AM.pn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40207"/>
            <a:ext cx="12192000" cy="4331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038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F59D8B4-2BB1-4989-8073-A2EAA09731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Wifi</a:t>
            </a:r>
            <a:r>
              <a:rPr lang="en-US" dirty="0"/>
              <a:t> enabled dongle with display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B60BDC-D133-4927-878B-1737D730C19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Keysight Data Center Infrastructure Overview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A08DE3-77F8-4E85-A705-1F7E130B8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</a:t>
            </a:r>
            <a:r>
              <a:rPr lang="en-US" dirty="0" err="1"/>
              <a:t>KeyCard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FC84010-2455-48E1-B1AF-870C09E4E777}"/>
              </a:ext>
            </a:extLst>
          </p:cNvPr>
          <p:cNvSpPr>
            <a:spLocks noChangeAspect="1"/>
          </p:cNvSpPr>
          <p:nvPr/>
        </p:nvSpPr>
        <p:spPr>
          <a:xfrm>
            <a:off x="2013753" y="1335455"/>
            <a:ext cx="9735061" cy="1533093"/>
          </a:xfrm>
          <a:prstGeom prst="rect">
            <a:avLst/>
          </a:prstGeom>
          <a:solidFill>
            <a:schemeClr val="bg1">
              <a:alpha val="65000"/>
            </a:schemeClr>
          </a:solidFill>
          <a:ln w="190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5541111-3BF4-4D8B-9D32-AA8A18F0CB1D}"/>
              </a:ext>
            </a:extLst>
          </p:cNvPr>
          <p:cNvSpPr>
            <a:spLocks noChangeAspect="1"/>
          </p:cNvSpPr>
          <p:nvPr/>
        </p:nvSpPr>
        <p:spPr>
          <a:xfrm>
            <a:off x="2007738" y="4528211"/>
            <a:ext cx="9735061" cy="1533093"/>
          </a:xfrm>
          <a:prstGeom prst="rect">
            <a:avLst/>
          </a:prstGeom>
          <a:solidFill>
            <a:schemeClr val="bg1">
              <a:alpha val="65000"/>
            </a:schemeClr>
          </a:solidFill>
          <a:ln w="190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C0CA1D7-0FA2-49ED-859B-C934B3DA88D9}"/>
              </a:ext>
            </a:extLst>
          </p:cNvPr>
          <p:cNvSpPr>
            <a:spLocks noChangeAspect="1"/>
          </p:cNvSpPr>
          <p:nvPr/>
        </p:nvSpPr>
        <p:spPr>
          <a:xfrm>
            <a:off x="1959548" y="2895660"/>
            <a:ext cx="9735061" cy="1533093"/>
          </a:xfrm>
          <a:prstGeom prst="rect">
            <a:avLst/>
          </a:prstGeom>
          <a:solidFill>
            <a:schemeClr val="bg1">
              <a:alpha val="65000"/>
            </a:schemeClr>
          </a:solidFill>
          <a:ln w="190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036E7B7-3834-49C6-A10B-5787AB1D06F1}"/>
              </a:ext>
            </a:extLst>
          </p:cNvPr>
          <p:cNvGrpSpPr/>
          <p:nvPr/>
        </p:nvGrpSpPr>
        <p:grpSpPr>
          <a:xfrm>
            <a:off x="4758077" y="1547436"/>
            <a:ext cx="2531533" cy="1227757"/>
            <a:chOff x="3857051" y="4049904"/>
            <a:chExt cx="2531533" cy="1227757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67E0B90-9213-4C23-B068-D4368D61F914}"/>
                </a:ext>
              </a:extLst>
            </p:cNvPr>
            <p:cNvSpPr/>
            <p:nvPr/>
          </p:nvSpPr>
          <p:spPr>
            <a:xfrm>
              <a:off x="3857051" y="4754441"/>
              <a:ext cx="2531533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Product info/</a:t>
              </a:r>
            </a:p>
            <a:p>
              <a:pPr algn="ctr"/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Support contacts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5AE2483-005F-41CE-872F-27983275D1B6}"/>
                </a:ext>
              </a:extLst>
            </p:cNvPr>
            <p:cNvGrpSpPr/>
            <p:nvPr/>
          </p:nvGrpSpPr>
          <p:grpSpPr>
            <a:xfrm>
              <a:off x="4797426" y="4049904"/>
              <a:ext cx="650874" cy="655637"/>
              <a:chOff x="4797426" y="3590925"/>
              <a:chExt cx="650874" cy="655637"/>
            </a:xfrm>
          </p:grpSpPr>
          <p:sp>
            <p:nvSpPr>
              <p:cNvPr id="11" name="Freeform 71">
                <a:extLst>
                  <a:ext uri="{FF2B5EF4-FFF2-40B4-BE49-F238E27FC236}">
                    <a16:creationId xmlns:a16="http://schemas.microsoft.com/office/drawing/2014/main" id="{33E82F74-872A-42E1-8978-564AB590DC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6200" y="3709988"/>
                <a:ext cx="176212" cy="174625"/>
              </a:xfrm>
              <a:custGeom>
                <a:avLst/>
                <a:gdLst>
                  <a:gd name="T0" fmla="*/ 191 w 211"/>
                  <a:gd name="T1" fmla="*/ 209 h 209"/>
                  <a:gd name="T2" fmla="*/ 178 w 211"/>
                  <a:gd name="T3" fmla="*/ 204 h 209"/>
                  <a:gd name="T4" fmla="*/ 7 w 211"/>
                  <a:gd name="T5" fmla="*/ 32 h 209"/>
                  <a:gd name="T6" fmla="*/ 7 w 211"/>
                  <a:gd name="T7" fmla="*/ 7 h 209"/>
                  <a:gd name="T8" fmla="*/ 33 w 211"/>
                  <a:gd name="T9" fmla="*/ 7 h 209"/>
                  <a:gd name="T10" fmla="*/ 204 w 211"/>
                  <a:gd name="T11" fmla="*/ 178 h 209"/>
                  <a:gd name="T12" fmla="*/ 204 w 211"/>
                  <a:gd name="T13" fmla="*/ 204 h 209"/>
                  <a:gd name="T14" fmla="*/ 191 w 211"/>
                  <a:gd name="T15" fmla="*/ 20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1" h="209">
                    <a:moveTo>
                      <a:pt x="191" y="209"/>
                    </a:moveTo>
                    <a:cubicBezTo>
                      <a:pt x="187" y="209"/>
                      <a:pt x="182" y="207"/>
                      <a:pt x="178" y="204"/>
                    </a:cubicBezTo>
                    <a:cubicBezTo>
                      <a:pt x="7" y="32"/>
                      <a:pt x="7" y="32"/>
                      <a:pt x="7" y="32"/>
                    </a:cubicBezTo>
                    <a:cubicBezTo>
                      <a:pt x="0" y="25"/>
                      <a:pt x="0" y="14"/>
                      <a:pt x="7" y="7"/>
                    </a:cubicBezTo>
                    <a:cubicBezTo>
                      <a:pt x="14" y="0"/>
                      <a:pt x="26" y="0"/>
                      <a:pt x="33" y="7"/>
                    </a:cubicBezTo>
                    <a:cubicBezTo>
                      <a:pt x="204" y="178"/>
                      <a:pt x="204" y="178"/>
                      <a:pt x="204" y="178"/>
                    </a:cubicBezTo>
                    <a:cubicBezTo>
                      <a:pt x="211" y="185"/>
                      <a:pt x="211" y="196"/>
                      <a:pt x="204" y="204"/>
                    </a:cubicBezTo>
                    <a:cubicBezTo>
                      <a:pt x="200" y="207"/>
                      <a:pt x="196" y="209"/>
                      <a:pt x="191" y="209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12" name="Freeform 72">
                <a:extLst>
                  <a:ext uri="{FF2B5EF4-FFF2-40B4-BE49-F238E27FC236}">
                    <a16:creationId xmlns:a16="http://schemas.microsoft.com/office/drawing/2014/main" id="{6E2D4679-0AF0-4CFF-B386-24902B83C3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2550" y="3959225"/>
                <a:ext cx="169862" cy="171450"/>
              </a:xfrm>
              <a:custGeom>
                <a:avLst/>
                <a:gdLst>
                  <a:gd name="T0" fmla="*/ 19 w 205"/>
                  <a:gd name="T1" fmla="*/ 204 h 204"/>
                  <a:gd name="T2" fmla="*/ 7 w 205"/>
                  <a:gd name="T3" fmla="*/ 198 h 204"/>
                  <a:gd name="T4" fmla="*/ 7 w 205"/>
                  <a:gd name="T5" fmla="*/ 173 h 204"/>
                  <a:gd name="T6" fmla="*/ 172 w 205"/>
                  <a:gd name="T7" fmla="*/ 7 h 204"/>
                  <a:gd name="T8" fmla="*/ 198 w 205"/>
                  <a:gd name="T9" fmla="*/ 7 h 204"/>
                  <a:gd name="T10" fmla="*/ 198 w 205"/>
                  <a:gd name="T11" fmla="*/ 33 h 204"/>
                  <a:gd name="T12" fmla="*/ 32 w 205"/>
                  <a:gd name="T13" fmla="*/ 198 h 204"/>
                  <a:gd name="T14" fmla="*/ 19 w 205"/>
                  <a:gd name="T15" fmla="*/ 204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5" h="204">
                    <a:moveTo>
                      <a:pt x="19" y="204"/>
                    </a:moveTo>
                    <a:cubicBezTo>
                      <a:pt x="15" y="204"/>
                      <a:pt x="10" y="202"/>
                      <a:pt x="7" y="198"/>
                    </a:cubicBezTo>
                    <a:cubicBezTo>
                      <a:pt x="0" y="191"/>
                      <a:pt x="0" y="180"/>
                      <a:pt x="7" y="173"/>
                    </a:cubicBezTo>
                    <a:cubicBezTo>
                      <a:pt x="172" y="7"/>
                      <a:pt x="172" y="7"/>
                      <a:pt x="172" y="7"/>
                    </a:cubicBezTo>
                    <a:cubicBezTo>
                      <a:pt x="179" y="0"/>
                      <a:pt x="191" y="0"/>
                      <a:pt x="198" y="7"/>
                    </a:cubicBezTo>
                    <a:cubicBezTo>
                      <a:pt x="205" y="14"/>
                      <a:pt x="205" y="25"/>
                      <a:pt x="198" y="33"/>
                    </a:cubicBezTo>
                    <a:cubicBezTo>
                      <a:pt x="32" y="198"/>
                      <a:pt x="32" y="198"/>
                      <a:pt x="32" y="198"/>
                    </a:cubicBezTo>
                    <a:cubicBezTo>
                      <a:pt x="29" y="202"/>
                      <a:pt x="24" y="204"/>
                      <a:pt x="19" y="204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13" name="Freeform 73">
                <a:extLst>
                  <a:ext uri="{FF2B5EF4-FFF2-40B4-BE49-F238E27FC236}">
                    <a16:creationId xmlns:a16="http://schemas.microsoft.com/office/drawing/2014/main" id="{0DF26551-6B8E-4606-B887-44ECB7C6AB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3313" y="3959225"/>
                <a:ext cx="173037" cy="171450"/>
              </a:xfrm>
              <a:custGeom>
                <a:avLst/>
                <a:gdLst>
                  <a:gd name="T0" fmla="*/ 186 w 206"/>
                  <a:gd name="T1" fmla="*/ 205 h 205"/>
                  <a:gd name="T2" fmla="*/ 174 w 206"/>
                  <a:gd name="T3" fmla="*/ 199 h 205"/>
                  <a:gd name="T4" fmla="*/ 7 w 206"/>
                  <a:gd name="T5" fmla="*/ 33 h 205"/>
                  <a:gd name="T6" fmla="*/ 7 w 206"/>
                  <a:gd name="T7" fmla="*/ 7 h 205"/>
                  <a:gd name="T8" fmla="*/ 33 w 206"/>
                  <a:gd name="T9" fmla="*/ 7 h 205"/>
                  <a:gd name="T10" fmla="*/ 199 w 206"/>
                  <a:gd name="T11" fmla="*/ 174 h 205"/>
                  <a:gd name="T12" fmla="*/ 199 w 206"/>
                  <a:gd name="T13" fmla="*/ 199 h 205"/>
                  <a:gd name="T14" fmla="*/ 186 w 206"/>
                  <a:gd name="T15" fmla="*/ 205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6" h="205">
                    <a:moveTo>
                      <a:pt x="186" y="205"/>
                    </a:moveTo>
                    <a:cubicBezTo>
                      <a:pt x="182" y="205"/>
                      <a:pt x="177" y="203"/>
                      <a:pt x="174" y="199"/>
                    </a:cubicBezTo>
                    <a:cubicBezTo>
                      <a:pt x="7" y="33"/>
                      <a:pt x="7" y="33"/>
                      <a:pt x="7" y="33"/>
                    </a:cubicBezTo>
                    <a:cubicBezTo>
                      <a:pt x="0" y="26"/>
                      <a:pt x="0" y="14"/>
                      <a:pt x="7" y="7"/>
                    </a:cubicBezTo>
                    <a:cubicBezTo>
                      <a:pt x="14" y="0"/>
                      <a:pt x="26" y="0"/>
                      <a:pt x="33" y="7"/>
                    </a:cubicBezTo>
                    <a:cubicBezTo>
                      <a:pt x="199" y="174"/>
                      <a:pt x="199" y="174"/>
                      <a:pt x="199" y="174"/>
                    </a:cubicBezTo>
                    <a:cubicBezTo>
                      <a:pt x="206" y="181"/>
                      <a:pt x="206" y="192"/>
                      <a:pt x="199" y="199"/>
                    </a:cubicBezTo>
                    <a:cubicBezTo>
                      <a:pt x="196" y="203"/>
                      <a:pt x="191" y="205"/>
                      <a:pt x="186" y="205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14" name="Freeform 74">
                <a:extLst>
                  <a:ext uri="{FF2B5EF4-FFF2-40B4-BE49-F238E27FC236}">
                    <a16:creationId xmlns:a16="http://schemas.microsoft.com/office/drawing/2014/main" id="{3920A41D-BD20-46F9-BF0E-65626E7797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3313" y="3709988"/>
                <a:ext cx="176212" cy="174625"/>
              </a:xfrm>
              <a:custGeom>
                <a:avLst/>
                <a:gdLst>
                  <a:gd name="T0" fmla="*/ 20 w 211"/>
                  <a:gd name="T1" fmla="*/ 210 h 210"/>
                  <a:gd name="T2" fmla="*/ 7 w 211"/>
                  <a:gd name="T3" fmla="*/ 204 h 210"/>
                  <a:gd name="T4" fmla="*/ 7 w 211"/>
                  <a:gd name="T5" fmla="*/ 179 h 210"/>
                  <a:gd name="T6" fmla="*/ 179 w 211"/>
                  <a:gd name="T7" fmla="*/ 7 h 210"/>
                  <a:gd name="T8" fmla="*/ 204 w 211"/>
                  <a:gd name="T9" fmla="*/ 7 h 210"/>
                  <a:gd name="T10" fmla="*/ 204 w 211"/>
                  <a:gd name="T11" fmla="*/ 32 h 210"/>
                  <a:gd name="T12" fmla="*/ 33 w 211"/>
                  <a:gd name="T13" fmla="*/ 204 h 210"/>
                  <a:gd name="T14" fmla="*/ 20 w 211"/>
                  <a:gd name="T15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1" h="210">
                    <a:moveTo>
                      <a:pt x="20" y="210"/>
                    </a:moveTo>
                    <a:cubicBezTo>
                      <a:pt x="15" y="210"/>
                      <a:pt x="11" y="208"/>
                      <a:pt x="7" y="204"/>
                    </a:cubicBezTo>
                    <a:cubicBezTo>
                      <a:pt x="0" y="197"/>
                      <a:pt x="0" y="186"/>
                      <a:pt x="7" y="179"/>
                    </a:cubicBezTo>
                    <a:cubicBezTo>
                      <a:pt x="179" y="7"/>
                      <a:pt x="179" y="7"/>
                      <a:pt x="179" y="7"/>
                    </a:cubicBezTo>
                    <a:cubicBezTo>
                      <a:pt x="186" y="0"/>
                      <a:pt x="197" y="0"/>
                      <a:pt x="204" y="7"/>
                    </a:cubicBezTo>
                    <a:cubicBezTo>
                      <a:pt x="211" y="14"/>
                      <a:pt x="211" y="25"/>
                      <a:pt x="204" y="32"/>
                    </a:cubicBezTo>
                    <a:cubicBezTo>
                      <a:pt x="33" y="204"/>
                      <a:pt x="33" y="204"/>
                      <a:pt x="33" y="204"/>
                    </a:cubicBezTo>
                    <a:cubicBezTo>
                      <a:pt x="29" y="208"/>
                      <a:pt x="24" y="210"/>
                      <a:pt x="20" y="210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15" name="Freeform 75">
                <a:extLst>
                  <a:ext uri="{FF2B5EF4-FFF2-40B4-BE49-F238E27FC236}">
                    <a16:creationId xmlns:a16="http://schemas.microsoft.com/office/drawing/2014/main" id="{8E864972-0C02-4656-8908-FC7EF3A3EC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38725" y="3590925"/>
                <a:ext cx="171450" cy="169862"/>
              </a:xfrm>
              <a:custGeom>
                <a:avLst/>
                <a:gdLst>
                  <a:gd name="T0" fmla="*/ 102 w 205"/>
                  <a:gd name="T1" fmla="*/ 204 h 204"/>
                  <a:gd name="T2" fmla="*/ 0 w 205"/>
                  <a:gd name="T3" fmla="*/ 102 h 204"/>
                  <a:gd name="T4" fmla="*/ 102 w 205"/>
                  <a:gd name="T5" fmla="*/ 0 h 204"/>
                  <a:gd name="T6" fmla="*/ 205 w 205"/>
                  <a:gd name="T7" fmla="*/ 102 h 204"/>
                  <a:gd name="T8" fmla="*/ 102 w 205"/>
                  <a:gd name="T9" fmla="*/ 204 h 204"/>
                  <a:gd name="T10" fmla="*/ 102 w 205"/>
                  <a:gd name="T11" fmla="*/ 36 h 204"/>
                  <a:gd name="T12" fmla="*/ 36 w 205"/>
                  <a:gd name="T13" fmla="*/ 102 h 204"/>
                  <a:gd name="T14" fmla="*/ 102 w 205"/>
                  <a:gd name="T15" fmla="*/ 168 h 204"/>
                  <a:gd name="T16" fmla="*/ 169 w 205"/>
                  <a:gd name="T17" fmla="*/ 102 h 204"/>
                  <a:gd name="T18" fmla="*/ 102 w 205"/>
                  <a:gd name="T19" fmla="*/ 36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5" h="204">
                    <a:moveTo>
                      <a:pt x="102" y="204"/>
                    </a:moveTo>
                    <a:cubicBezTo>
                      <a:pt x="46" y="204"/>
                      <a:pt x="0" y="158"/>
                      <a:pt x="0" y="102"/>
                    </a:cubicBezTo>
                    <a:cubicBezTo>
                      <a:pt x="0" y="46"/>
                      <a:pt x="46" y="0"/>
                      <a:pt x="102" y="0"/>
                    </a:cubicBezTo>
                    <a:cubicBezTo>
                      <a:pt x="159" y="0"/>
                      <a:pt x="205" y="46"/>
                      <a:pt x="205" y="102"/>
                    </a:cubicBezTo>
                    <a:cubicBezTo>
                      <a:pt x="205" y="158"/>
                      <a:pt x="159" y="204"/>
                      <a:pt x="102" y="204"/>
                    </a:cubicBezTo>
                    <a:close/>
                    <a:moveTo>
                      <a:pt x="102" y="36"/>
                    </a:moveTo>
                    <a:cubicBezTo>
                      <a:pt x="66" y="36"/>
                      <a:pt x="36" y="65"/>
                      <a:pt x="36" y="102"/>
                    </a:cubicBezTo>
                    <a:cubicBezTo>
                      <a:pt x="36" y="139"/>
                      <a:pt x="66" y="168"/>
                      <a:pt x="102" y="168"/>
                    </a:cubicBezTo>
                    <a:cubicBezTo>
                      <a:pt x="139" y="168"/>
                      <a:pt x="169" y="139"/>
                      <a:pt x="169" y="102"/>
                    </a:cubicBezTo>
                    <a:cubicBezTo>
                      <a:pt x="169" y="65"/>
                      <a:pt x="139" y="36"/>
                      <a:pt x="102" y="36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16" name="Freeform 76">
                <a:extLst>
                  <a:ext uri="{FF2B5EF4-FFF2-40B4-BE49-F238E27FC236}">
                    <a16:creationId xmlns:a16="http://schemas.microsoft.com/office/drawing/2014/main" id="{9439D9BC-440D-4444-AF68-788369FC3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38725" y="4073525"/>
                <a:ext cx="171450" cy="173037"/>
              </a:xfrm>
              <a:custGeom>
                <a:avLst/>
                <a:gdLst>
                  <a:gd name="T0" fmla="*/ 102 w 205"/>
                  <a:gd name="T1" fmla="*/ 205 h 205"/>
                  <a:gd name="T2" fmla="*/ 0 w 205"/>
                  <a:gd name="T3" fmla="*/ 103 h 205"/>
                  <a:gd name="T4" fmla="*/ 102 w 205"/>
                  <a:gd name="T5" fmla="*/ 0 h 205"/>
                  <a:gd name="T6" fmla="*/ 205 w 205"/>
                  <a:gd name="T7" fmla="*/ 103 h 205"/>
                  <a:gd name="T8" fmla="*/ 102 w 205"/>
                  <a:gd name="T9" fmla="*/ 205 h 205"/>
                  <a:gd name="T10" fmla="*/ 102 w 205"/>
                  <a:gd name="T11" fmla="*/ 36 h 205"/>
                  <a:gd name="T12" fmla="*/ 36 w 205"/>
                  <a:gd name="T13" fmla="*/ 103 h 205"/>
                  <a:gd name="T14" fmla="*/ 102 w 205"/>
                  <a:gd name="T15" fmla="*/ 169 h 205"/>
                  <a:gd name="T16" fmla="*/ 169 w 205"/>
                  <a:gd name="T17" fmla="*/ 103 h 205"/>
                  <a:gd name="T18" fmla="*/ 102 w 205"/>
                  <a:gd name="T19" fmla="*/ 36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5" h="205">
                    <a:moveTo>
                      <a:pt x="102" y="205"/>
                    </a:moveTo>
                    <a:cubicBezTo>
                      <a:pt x="46" y="205"/>
                      <a:pt x="0" y="159"/>
                      <a:pt x="0" y="103"/>
                    </a:cubicBezTo>
                    <a:cubicBezTo>
                      <a:pt x="0" y="46"/>
                      <a:pt x="46" y="0"/>
                      <a:pt x="102" y="0"/>
                    </a:cubicBezTo>
                    <a:cubicBezTo>
                      <a:pt x="159" y="0"/>
                      <a:pt x="205" y="46"/>
                      <a:pt x="205" y="103"/>
                    </a:cubicBezTo>
                    <a:cubicBezTo>
                      <a:pt x="205" y="159"/>
                      <a:pt x="159" y="205"/>
                      <a:pt x="102" y="205"/>
                    </a:cubicBezTo>
                    <a:close/>
                    <a:moveTo>
                      <a:pt x="102" y="36"/>
                    </a:moveTo>
                    <a:cubicBezTo>
                      <a:pt x="66" y="36"/>
                      <a:pt x="36" y="66"/>
                      <a:pt x="36" y="103"/>
                    </a:cubicBezTo>
                    <a:cubicBezTo>
                      <a:pt x="36" y="139"/>
                      <a:pt x="66" y="169"/>
                      <a:pt x="102" y="169"/>
                    </a:cubicBezTo>
                    <a:cubicBezTo>
                      <a:pt x="139" y="169"/>
                      <a:pt x="169" y="139"/>
                      <a:pt x="169" y="103"/>
                    </a:cubicBezTo>
                    <a:cubicBezTo>
                      <a:pt x="169" y="66"/>
                      <a:pt x="139" y="36"/>
                      <a:pt x="102" y="36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17" name="Freeform 77">
                <a:extLst>
                  <a:ext uri="{FF2B5EF4-FFF2-40B4-BE49-F238E27FC236}">
                    <a16:creationId xmlns:a16="http://schemas.microsoft.com/office/drawing/2014/main" id="{28C40EB2-8888-4257-BE91-B12A2B61C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97426" y="3836988"/>
                <a:ext cx="171450" cy="171450"/>
              </a:xfrm>
              <a:custGeom>
                <a:avLst/>
                <a:gdLst>
                  <a:gd name="T0" fmla="*/ 102 w 204"/>
                  <a:gd name="T1" fmla="*/ 205 h 205"/>
                  <a:gd name="T2" fmla="*/ 0 w 204"/>
                  <a:gd name="T3" fmla="*/ 103 h 205"/>
                  <a:gd name="T4" fmla="*/ 102 w 204"/>
                  <a:gd name="T5" fmla="*/ 0 h 205"/>
                  <a:gd name="T6" fmla="*/ 204 w 204"/>
                  <a:gd name="T7" fmla="*/ 103 h 205"/>
                  <a:gd name="T8" fmla="*/ 102 w 204"/>
                  <a:gd name="T9" fmla="*/ 205 h 205"/>
                  <a:gd name="T10" fmla="*/ 102 w 204"/>
                  <a:gd name="T11" fmla="*/ 36 h 205"/>
                  <a:gd name="T12" fmla="*/ 36 w 204"/>
                  <a:gd name="T13" fmla="*/ 103 h 205"/>
                  <a:gd name="T14" fmla="*/ 102 w 204"/>
                  <a:gd name="T15" fmla="*/ 169 h 205"/>
                  <a:gd name="T16" fmla="*/ 168 w 204"/>
                  <a:gd name="T17" fmla="*/ 103 h 205"/>
                  <a:gd name="T18" fmla="*/ 102 w 204"/>
                  <a:gd name="T19" fmla="*/ 36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4" h="205">
                    <a:moveTo>
                      <a:pt x="102" y="205"/>
                    </a:moveTo>
                    <a:cubicBezTo>
                      <a:pt x="46" y="205"/>
                      <a:pt x="0" y="159"/>
                      <a:pt x="0" y="103"/>
                    </a:cubicBezTo>
                    <a:cubicBezTo>
                      <a:pt x="0" y="46"/>
                      <a:pt x="46" y="0"/>
                      <a:pt x="102" y="0"/>
                    </a:cubicBezTo>
                    <a:cubicBezTo>
                      <a:pt x="158" y="0"/>
                      <a:pt x="204" y="46"/>
                      <a:pt x="204" y="103"/>
                    </a:cubicBezTo>
                    <a:cubicBezTo>
                      <a:pt x="204" y="159"/>
                      <a:pt x="158" y="205"/>
                      <a:pt x="102" y="205"/>
                    </a:cubicBezTo>
                    <a:close/>
                    <a:moveTo>
                      <a:pt x="102" y="36"/>
                    </a:moveTo>
                    <a:cubicBezTo>
                      <a:pt x="65" y="36"/>
                      <a:pt x="36" y="66"/>
                      <a:pt x="36" y="103"/>
                    </a:cubicBezTo>
                    <a:cubicBezTo>
                      <a:pt x="36" y="139"/>
                      <a:pt x="65" y="169"/>
                      <a:pt x="102" y="169"/>
                    </a:cubicBezTo>
                    <a:cubicBezTo>
                      <a:pt x="139" y="169"/>
                      <a:pt x="168" y="139"/>
                      <a:pt x="168" y="103"/>
                    </a:cubicBezTo>
                    <a:cubicBezTo>
                      <a:pt x="168" y="66"/>
                      <a:pt x="139" y="36"/>
                      <a:pt x="102" y="36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18" name="Freeform 78">
                <a:extLst>
                  <a:ext uri="{FF2B5EF4-FFF2-40B4-BE49-F238E27FC236}">
                    <a16:creationId xmlns:a16="http://schemas.microsoft.com/office/drawing/2014/main" id="{6555D79F-87CA-43FA-B3C2-46129022A7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76850" y="3836988"/>
                <a:ext cx="171450" cy="171450"/>
              </a:xfrm>
              <a:custGeom>
                <a:avLst/>
                <a:gdLst>
                  <a:gd name="T0" fmla="*/ 102 w 205"/>
                  <a:gd name="T1" fmla="*/ 205 h 205"/>
                  <a:gd name="T2" fmla="*/ 0 w 205"/>
                  <a:gd name="T3" fmla="*/ 103 h 205"/>
                  <a:gd name="T4" fmla="*/ 102 w 205"/>
                  <a:gd name="T5" fmla="*/ 0 h 205"/>
                  <a:gd name="T6" fmla="*/ 205 w 205"/>
                  <a:gd name="T7" fmla="*/ 103 h 205"/>
                  <a:gd name="T8" fmla="*/ 102 w 205"/>
                  <a:gd name="T9" fmla="*/ 205 h 205"/>
                  <a:gd name="T10" fmla="*/ 102 w 205"/>
                  <a:gd name="T11" fmla="*/ 36 h 205"/>
                  <a:gd name="T12" fmla="*/ 36 w 205"/>
                  <a:gd name="T13" fmla="*/ 103 h 205"/>
                  <a:gd name="T14" fmla="*/ 102 w 205"/>
                  <a:gd name="T15" fmla="*/ 169 h 205"/>
                  <a:gd name="T16" fmla="*/ 169 w 205"/>
                  <a:gd name="T17" fmla="*/ 103 h 205"/>
                  <a:gd name="T18" fmla="*/ 102 w 205"/>
                  <a:gd name="T19" fmla="*/ 36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5" h="205">
                    <a:moveTo>
                      <a:pt x="102" y="205"/>
                    </a:moveTo>
                    <a:cubicBezTo>
                      <a:pt x="46" y="205"/>
                      <a:pt x="0" y="159"/>
                      <a:pt x="0" y="103"/>
                    </a:cubicBezTo>
                    <a:cubicBezTo>
                      <a:pt x="0" y="46"/>
                      <a:pt x="46" y="0"/>
                      <a:pt x="102" y="0"/>
                    </a:cubicBezTo>
                    <a:cubicBezTo>
                      <a:pt x="159" y="0"/>
                      <a:pt x="205" y="46"/>
                      <a:pt x="205" y="103"/>
                    </a:cubicBezTo>
                    <a:cubicBezTo>
                      <a:pt x="205" y="159"/>
                      <a:pt x="159" y="205"/>
                      <a:pt x="102" y="205"/>
                    </a:cubicBezTo>
                    <a:close/>
                    <a:moveTo>
                      <a:pt x="102" y="36"/>
                    </a:moveTo>
                    <a:cubicBezTo>
                      <a:pt x="66" y="36"/>
                      <a:pt x="36" y="66"/>
                      <a:pt x="36" y="103"/>
                    </a:cubicBezTo>
                    <a:cubicBezTo>
                      <a:pt x="36" y="139"/>
                      <a:pt x="66" y="169"/>
                      <a:pt x="102" y="169"/>
                    </a:cubicBezTo>
                    <a:cubicBezTo>
                      <a:pt x="139" y="169"/>
                      <a:pt x="169" y="139"/>
                      <a:pt x="169" y="103"/>
                    </a:cubicBezTo>
                    <a:cubicBezTo>
                      <a:pt x="169" y="66"/>
                      <a:pt x="139" y="36"/>
                      <a:pt x="102" y="36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F370B99-93FB-41D9-BA05-34B4EC1662C6}"/>
              </a:ext>
            </a:extLst>
          </p:cNvPr>
          <p:cNvGrpSpPr/>
          <p:nvPr/>
        </p:nvGrpSpPr>
        <p:grpSpPr>
          <a:xfrm>
            <a:off x="7038549" y="1497545"/>
            <a:ext cx="1729071" cy="1164448"/>
            <a:chOff x="7006742" y="4113213"/>
            <a:chExt cx="1729071" cy="1164448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9C6BB05-5165-489B-A727-899FCD2C68F2}"/>
                </a:ext>
              </a:extLst>
            </p:cNvPr>
            <p:cNvSpPr/>
            <p:nvPr/>
          </p:nvSpPr>
          <p:spPr>
            <a:xfrm>
              <a:off x="7006742" y="4754441"/>
              <a:ext cx="1729071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Everyday Tips from Knowledge Center</a:t>
              </a:r>
            </a:p>
          </p:txBody>
        </p:sp>
        <p:sp>
          <p:nvSpPr>
            <p:cNvPr id="21" name="Freeform 79">
              <a:extLst>
                <a:ext uri="{FF2B5EF4-FFF2-40B4-BE49-F238E27FC236}">
                  <a16:creationId xmlns:a16="http://schemas.microsoft.com/office/drawing/2014/main" id="{9596B514-B1A1-4880-A3A6-BF43DCE77F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5547" y="4113213"/>
              <a:ext cx="646422" cy="571691"/>
            </a:xfrm>
            <a:custGeom>
              <a:avLst/>
              <a:gdLst>
                <a:gd name="T0" fmla="*/ 648 w 656"/>
                <a:gd name="T1" fmla="*/ 496 h 581"/>
                <a:gd name="T2" fmla="*/ 594 w 656"/>
                <a:gd name="T3" fmla="*/ 573 h 581"/>
                <a:gd name="T4" fmla="*/ 310 w 656"/>
                <a:gd name="T5" fmla="*/ 310 h 581"/>
                <a:gd name="T6" fmla="*/ 280 w 656"/>
                <a:gd name="T7" fmla="*/ 326 h 581"/>
                <a:gd name="T8" fmla="*/ 204 w 656"/>
                <a:gd name="T9" fmla="*/ 273 h 581"/>
                <a:gd name="T10" fmla="*/ 83 w 656"/>
                <a:gd name="T11" fmla="*/ 305 h 581"/>
                <a:gd name="T12" fmla="*/ 68 w 656"/>
                <a:gd name="T13" fmla="*/ 283 h 581"/>
                <a:gd name="T14" fmla="*/ 175 w 656"/>
                <a:gd name="T15" fmla="*/ 176 h 581"/>
                <a:gd name="T16" fmla="*/ 124 w 656"/>
                <a:gd name="T17" fmla="*/ 143 h 581"/>
                <a:gd name="T18" fmla="*/ 8 w 656"/>
                <a:gd name="T19" fmla="*/ 246 h 581"/>
                <a:gd name="T20" fmla="*/ 44 w 656"/>
                <a:gd name="T21" fmla="*/ 110 h 581"/>
                <a:gd name="T22" fmla="*/ 137 w 656"/>
                <a:gd name="T23" fmla="*/ 10 h 581"/>
                <a:gd name="T24" fmla="*/ 289 w 656"/>
                <a:gd name="T25" fmla="*/ 137 h 581"/>
                <a:gd name="T26" fmla="*/ 624 w 656"/>
                <a:gd name="T27" fmla="*/ 507 h 581"/>
                <a:gd name="T28" fmla="*/ 584 w 656"/>
                <a:gd name="T29" fmla="*/ 498 h 581"/>
                <a:gd name="T30" fmla="*/ 565 w 656"/>
                <a:gd name="T31" fmla="*/ 448 h 581"/>
                <a:gd name="T32" fmla="*/ 532 w 656"/>
                <a:gd name="T33" fmla="*/ 464 h 581"/>
                <a:gd name="T34" fmla="*/ 548 w 656"/>
                <a:gd name="T35" fmla="*/ 431 h 581"/>
                <a:gd name="T36" fmla="*/ 499 w 656"/>
                <a:gd name="T37" fmla="*/ 413 h 581"/>
                <a:gd name="T38" fmla="*/ 480 w 656"/>
                <a:gd name="T39" fmla="*/ 363 h 581"/>
                <a:gd name="T40" fmla="*/ 447 w 656"/>
                <a:gd name="T41" fmla="*/ 379 h 581"/>
                <a:gd name="T42" fmla="*/ 464 w 656"/>
                <a:gd name="T43" fmla="*/ 347 h 581"/>
                <a:gd name="T44" fmla="*/ 414 w 656"/>
                <a:gd name="T45" fmla="*/ 329 h 581"/>
                <a:gd name="T46" fmla="*/ 396 w 656"/>
                <a:gd name="T47" fmla="*/ 279 h 581"/>
                <a:gd name="T48" fmla="*/ 362 w 656"/>
                <a:gd name="T49" fmla="*/ 295 h 581"/>
                <a:gd name="T50" fmla="*/ 378 w 656"/>
                <a:gd name="T51" fmla="*/ 261 h 581"/>
                <a:gd name="T52" fmla="*/ 329 w 656"/>
                <a:gd name="T53" fmla="*/ 243 h 581"/>
                <a:gd name="T54" fmla="*/ 310 w 656"/>
                <a:gd name="T55" fmla="*/ 193 h 581"/>
                <a:gd name="T56" fmla="*/ 278 w 656"/>
                <a:gd name="T57" fmla="*/ 210 h 581"/>
                <a:gd name="T58" fmla="*/ 294 w 656"/>
                <a:gd name="T59" fmla="*/ 177 h 581"/>
                <a:gd name="T60" fmla="*/ 245 w 656"/>
                <a:gd name="T61" fmla="*/ 159 h 581"/>
                <a:gd name="T62" fmla="*/ 226 w 656"/>
                <a:gd name="T63" fmla="*/ 109 h 581"/>
                <a:gd name="T64" fmla="*/ 193 w 656"/>
                <a:gd name="T65" fmla="*/ 125 h 581"/>
                <a:gd name="T66" fmla="*/ 209 w 656"/>
                <a:gd name="T67" fmla="*/ 92 h 581"/>
                <a:gd name="T68" fmla="*/ 160 w 656"/>
                <a:gd name="T69" fmla="*/ 74 h 581"/>
                <a:gd name="T70" fmla="*/ 150 w 656"/>
                <a:gd name="T71" fmla="*/ 33 h 581"/>
                <a:gd name="T72" fmla="*/ 71 w 656"/>
                <a:gd name="T73" fmla="*/ 111 h 581"/>
                <a:gd name="T74" fmla="*/ 44 w 656"/>
                <a:gd name="T75" fmla="*/ 185 h 581"/>
                <a:gd name="T76" fmla="*/ 121 w 656"/>
                <a:gd name="T77" fmla="*/ 112 h 581"/>
                <a:gd name="T78" fmla="*/ 180 w 656"/>
                <a:gd name="T79" fmla="*/ 147 h 581"/>
                <a:gd name="T80" fmla="*/ 211 w 656"/>
                <a:gd name="T81" fmla="*/ 161 h 581"/>
                <a:gd name="T82" fmla="*/ 323 w 656"/>
                <a:gd name="T83" fmla="*/ 279 h 581"/>
                <a:gd name="T84" fmla="*/ 573 w 656"/>
                <a:gd name="T85" fmla="*/ 540 h 581"/>
                <a:gd name="T86" fmla="*/ 123 w 656"/>
                <a:gd name="T87" fmla="*/ 264 h 581"/>
                <a:gd name="T88" fmla="*/ 191 w 656"/>
                <a:gd name="T89" fmla="*/ 243 h 581"/>
                <a:gd name="T90" fmla="*/ 268 w 656"/>
                <a:gd name="T91" fmla="*/ 302 h 581"/>
                <a:gd name="T92" fmla="*/ 201 w 656"/>
                <a:gd name="T93" fmla="*/ 186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56" h="581">
                  <a:moveTo>
                    <a:pt x="289" y="137"/>
                  </a:moveTo>
                  <a:cubicBezTo>
                    <a:pt x="408" y="257"/>
                    <a:pt x="528" y="376"/>
                    <a:pt x="648" y="496"/>
                  </a:cubicBezTo>
                  <a:cubicBezTo>
                    <a:pt x="656" y="504"/>
                    <a:pt x="656" y="510"/>
                    <a:pt x="648" y="518"/>
                  </a:cubicBezTo>
                  <a:cubicBezTo>
                    <a:pt x="630" y="536"/>
                    <a:pt x="612" y="555"/>
                    <a:pt x="594" y="573"/>
                  </a:cubicBezTo>
                  <a:cubicBezTo>
                    <a:pt x="586" y="581"/>
                    <a:pt x="579" y="581"/>
                    <a:pt x="572" y="573"/>
                  </a:cubicBezTo>
                  <a:cubicBezTo>
                    <a:pt x="484" y="485"/>
                    <a:pt x="397" y="398"/>
                    <a:pt x="310" y="310"/>
                  </a:cubicBezTo>
                  <a:cubicBezTo>
                    <a:pt x="308" y="308"/>
                    <a:pt x="306" y="307"/>
                    <a:pt x="303" y="304"/>
                  </a:cubicBezTo>
                  <a:cubicBezTo>
                    <a:pt x="295" y="311"/>
                    <a:pt x="288" y="319"/>
                    <a:pt x="280" y="326"/>
                  </a:cubicBezTo>
                  <a:cubicBezTo>
                    <a:pt x="272" y="335"/>
                    <a:pt x="265" y="334"/>
                    <a:pt x="257" y="326"/>
                  </a:cubicBezTo>
                  <a:cubicBezTo>
                    <a:pt x="239" y="308"/>
                    <a:pt x="222" y="290"/>
                    <a:pt x="204" y="273"/>
                  </a:cubicBezTo>
                  <a:cubicBezTo>
                    <a:pt x="201" y="270"/>
                    <a:pt x="194" y="268"/>
                    <a:pt x="190" y="269"/>
                  </a:cubicBezTo>
                  <a:cubicBezTo>
                    <a:pt x="154" y="280"/>
                    <a:pt x="118" y="292"/>
                    <a:pt x="83" y="305"/>
                  </a:cubicBezTo>
                  <a:cubicBezTo>
                    <a:pt x="75" y="307"/>
                    <a:pt x="68" y="309"/>
                    <a:pt x="63" y="301"/>
                  </a:cubicBezTo>
                  <a:cubicBezTo>
                    <a:pt x="58" y="294"/>
                    <a:pt x="63" y="288"/>
                    <a:pt x="68" y="283"/>
                  </a:cubicBezTo>
                  <a:cubicBezTo>
                    <a:pt x="102" y="250"/>
                    <a:pt x="134" y="217"/>
                    <a:pt x="167" y="184"/>
                  </a:cubicBezTo>
                  <a:cubicBezTo>
                    <a:pt x="170" y="182"/>
                    <a:pt x="172" y="179"/>
                    <a:pt x="175" y="176"/>
                  </a:cubicBezTo>
                  <a:cubicBezTo>
                    <a:pt x="161" y="162"/>
                    <a:pt x="147" y="149"/>
                    <a:pt x="133" y="134"/>
                  </a:cubicBezTo>
                  <a:cubicBezTo>
                    <a:pt x="129" y="137"/>
                    <a:pt x="126" y="140"/>
                    <a:pt x="124" y="143"/>
                  </a:cubicBezTo>
                  <a:cubicBezTo>
                    <a:pt x="91" y="176"/>
                    <a:pt x="59" y="208"/>
                    <a:pt x="27" y="240"/>
                  </a:cubicBezTo>
                  <a:cubicBezTo>
                    <a:pt x="21" y="246"/>
                    <a:pt x="16" y="251"/>
                    <a:pt x="8" y="246"/>
                  </a:cubicBezTo>
                  <a:cubicBezTo>
                    <a:pt x="0" y="241"/>
                    <a:pt x="2" y="234"/>
                    <a:pt x="4" y="227"/>
                  </a:cubicBezTo>
                  <a:cubicBezTo>
                    <a:pt x="18" y="188"/>
                    <a:pt x="30" y="149"/>
                    <a:pt x="44" y="110"/>
                  </a:cubicBezTo>
                  <a:cubicBezTo>
                    <a:pt x="45" y="104"/>
                    <a:pt x="49" y="99"/>
                    <a:pt x="52" y="95"/>
                  </a:cubicBezTo>
                  <a:cubicBezTo>
                    <a:pt x="80" y="67"/>
                    <a:pt x="109" y="39"/>
                    <a:pt x="137" y="10"/>
                  </a:cubicBezTo>
                  <a:cubicBezTo>
                    <a:pt x="147" y="0"/>
                    <a:pt x="153" y="0"/>
                    <a:pt x="163" y="11"/>
                  </a:cubicBezTo>
                  <a:cubicBezTo>
                    <a:pt x="167" y="15"/>
                    <a:pt x="285" y="133"/>
                    <a:pt x="289" y="137"/>
                  </a:cubicBezTo>
                  <a:close/>
                  <a:moveTo>
                    <a:pt x="582" y="549"/>
                  </a:moveTo>
                  <a:cubicBezTo>
                    <a:pt x="597" y="534"/>
                    <a:pt x="610" y="521"/>
                    <a:pt x="624" y="507"/>
                  </a:cubicBezTo>
                  <a:cubicBezTo>
                    <a:pt x="618" y="501"/>
                    <a:pt x="613" y="496"/>
                    <a:pt x="608" y="491"/>
                  </a:cubicBezTo>
                  <a:cubicBezTo>
                    <a:pt x="600" y="497"/>
                    <a:pt x="594" y="508"/>
                    <a:pt x="584" y="498"/>
                  </a:cubicBezTo>
                  <a:cubicBezTo>
                    <a:pt x="573" y="488"/>
                    <a:pt x="584" y="481"/>
                    <a:pt x="590" y="473"/>
                  </a:cubicBezTo>
                  <a:cubicBezTo>
                    <a:pt x="582" y="465"/>
                    <a:pt x="574" y="457"/>
                    <a:pt x="565" y="448"/>
                  </a:cubicBezTo>
                  <a:cubicBezTo>
                    <a:pt x="562" y="451"/>
                    <a:pt x="559" y="454"/>
                    <a:pt x="556" y="457"/>
                  </a:cubicBezTo>
                  <a:cubicBezTo>
                    <a:pt x="549" y="463"/>
                    <a:pt x="543" y="473"/>
                    <a:pt x="532" y="464"/>
                  </a:cubicBezTo>
                  <a:cubicBezTo>
                    <a:pt x="525" y="459"/>
                    <a:pt x="528" y="452"/>
                    <a:pt x="539" y="440"/>
                  </a:cubicBezTo>
                  <a:cubicBezTo>
                    <a:pt x="542" y="437"/>
                    <a:pt x="545" y="434"/>
                    <a:pt x="548" y="431"/>
                  </a:cubicBezTo>
                  <a:cubicBezTo>
                    <a:pt x="539" y="422"/>
                    <a:pt x="531" y="414"/>
                    <a:pt x="523" y="406"/>
                  </a:cubicBezTo>
                  <a:cubicBezTo>
                    <a:pt x="515" y="411"/>
                    <a:pt x="509" y="424"/>
                    <a:pt x="499" y="413"/>
                  </a:cubicBezTo>
                  <a:cubicBezTo>
                    <a:pt x="488" y="403"/>
                    <a:pt x="500" y="396"/>
                    <a:pt x="505" y="389"/>
                  </a:cubicBezTo>
                  <a:cubicBezTo>
                    <a:pt x="497" y="380"/>
                    <a:pt x="489" y="372"/>
                    <a:pt x="480" y="363"/>
                  </a:cubicBezTo>
                  <a:cubicBezTo>
                    <a:pt x="474" y="369"/>
                    <a:pt x="469" y="375"/>
                    <a:pt x="464" y="379"/>
                  </a:cubicBezTo>
                  <a:cubicBezTo>
                    <a:pt x="458" y="385"/>
                    <a:pt x="451" y="385"/>
                    <a:pt x="447" y="379"/>
                  </a:cubicBezTo>
                  <a:cubicBezTo>
                    <a:pt x="445" y="375"/>
                    <a:pt x="446" y="367"/>
                    <a:pt x="448" y="363"/>
                  </a:cubicBezTo>
                  <a:cubicBezTo>
                    <a:pt x="452" y="357"/>
                    <a:pt x="458" y="352"/>
                    <a:pt x="464" y="347"/>
                  </a:cubicBezTo>
                  <a:cubicBezTo>
                    <a:pt x="454" y="337"/>
                    <a:pt x="446" y="329"/>
                    <a:pt x="438" y="321"/>
                  </a:cubicBezTo>
                  <a:cubicBezTo>
                    <a:pt x="431" y="327"/>
                    <a:pt x="424" y="338"/>
                    <a:pt x="414" y="329"/>
                  </a:cubicBezTo>
                  <a:cubicBezTo>
                    <a:pt x="403" y="318"/>
                    <a:pt x="416" y="311"/>
                    <a:pt x="420" y="303"/>
                  </a:cubicBezTo>
                  <a:cubicBezTo>
                    <a:pt x="412" y="295"/>
                    <a:pt x="404" y="287"/>
                    <a:pt x="396" y="279"/>
                  </a:cubicBezTo>
                  <a:cubicBezTo>
                    <a:pt x="390" y="284"/>
                    <a:pt x="386" y="289"/>
                    <a:pt x="381" y="293"/>
                  </a:cubicBezTo>
                  <a:cubicBezTo>
                    <a:pt x="375" y="299"/>
                    <a:pt x="368" y="301"/>
                    <a:pt x="362" y="295"/>
                  </a:cubicBezTo>
                  <a:cubicBezTo>
                    <a:pt x="356" y="289"/>
                    <a:pt x="358" y="282"/>
                    <a:pt x="363" y="276"/>
                  </a:cubicBezTo>
                  <a:cubicBezTo>
                    <a:pt x="368" y="271"/>
                    <a:pt x="373" y="266"/>
                    <a:pt x="378" y="261"/>
                  </a:cubicBezTo>
                  <a:cubicBezTo>
                    <a:pt x="369" y="252"/>
                    <a:pt x="362" y="245"/>
                    <a:pt x="354" y="237"/>
                  </a:cubicBezTo>
                  <a:cubicBezTo>
                    <a:pt x="346" y="241"/>
                    <a:pt x="339" y="254"/>
                    <a:pt x="329" y="243"/>
                  </a:cubicBezTo>
                  <a:cubicBezTo>
                    <a:pt x="318" y="233"/>
                    <a:pt x="330" y="226"/>
                    <a:pt x="336" y="219"/>
                  </a:cubicBezTo>
                  <a:cubicBezTo>
                    <a:pt x="327" y="210"/>
                    <a:pt x="319" y="202"/>
                    <a:pt x="310" y="193"/>
                  </a:cubicBezTo>
                  <a:cubicBezTo>
                    <a:pt x="305" y="199"/>
                    <a:pt x="300" y="203"/>
                    <a:pt x="296" y="208"/>
                  </a:cubicBezTo>
                  <a:cubicBezTo>
                    <a:pt x="290" y="214"/>
                    <a:pt x="284" y="216"/>
                    <a:pt x="278" y="210"/>
                  </a:cubicBezTo>
                  <a:cubicBezTo>
                    <a:pt x="272" y="204"/>
                    <a:pt x="273" y="197"/>
                    <a:pt x="279" y="192"/>
                  </a:cubicBezTo>
                  <a:cubicBezTo>
                    <a:pt x="284" y="187"/>
                    <a:pt x="289" y="182"/>
                    <a:pt x="294" y="177"/>
                  </a:cubicBezTo>
                  <a:cubicBezTo>
                    <a:pt x="284" y="167"/>
                    <a:pt x="276" y="159"/>
                    <a:pt x="268" y="151"/>
                  </a:cubicBezTo>
                  <a:cubicBezTo>
                    <a:pt x="261" y="157"/>
                    <a:pt x="255" y="168"/>
                    <a:pt x="245" y="159"/>
                  </a:cubicBezTo>
                  <a:cubicBezTo>
                    <a:pt x="232" y="149"/>
                    <a:pt x="246" y="142"/>
                    <a:pt x="251" y="134"/>
                  </a:cubicBezTo>
                  <a:cubicBezTo>
                    <a:pt x="243" y="126"/>
                    <a:pt x="235" y="118"/>
                    <a:pt x="226" y="109"/>
                  </a:cubicBezTo>
                  <a:cubicBezTo>
                    <a:pt x="221" y="114"/>
                    <a:pt x="216" y="119"/>
                    <a:pt x="211" y="124"/>
                  </a:cubicBezTo>
                  <a:cubicBezTo>
                    <a:pt x="205" y="129"/>
                    <a:pt x="199" y="131"/>
                    <a:pt x="193" y="125"/>
                  </a:cubicBezTo>
                  <a:cubicBezTo>
                    <a:pt x="187" y="119"/>
                    <a:pt x="188" y="113"/>
                    <a:pt x="194" y="107"/>
                  </a:cubicBezTo>
                  <a:cubicBezTo>
                    <a:pt x="199" y="102"/>
                    <a:pt x="204" y="97"/>
                    <a:pt x="209" y="92"/>
                  </a:cubicBezTo>
                  <a:cubicBezTo>
                    <a:pt x="199" y="83"/>
                    <a:pt x="192" y="75"/>
                    <a:pt x="184" y="67"/>
                  </a:cubicBezTo>
                  <a:cubicBezTo>
                    <a:pt x="176" y="73"/>
                    <a:pt x="169" y="83"/>
                    <a:pt x="160" y="74"/>
                  </a:cubicBezTo>
                  <a:cubicBezTo>
                    <a:pt x="148" y="64"/>
                    <a:pt x="160" y="57"/>
                    <a:pt x="166" y="49"/>
                  </a:cubicBezTo>
                  <a:cubicBezTo>
                    <a:pt x="160" y="43"/>
                    <a:pt x="155" y="38"/>
                    <a:pt x="150" y="33"/>
                  </a:cubicBezTo>
                  <a:cubicBezTo>
                    <a:pt x="149" y="34"/>
                    <a:pt x="148" y="35"/>
                    <a:pt x="147" y="35"/>
                  </a:cubicBezTo>
                  <a:cubicBezTo>
                    <a:pt x="122" y="61"/>
                    <a:pt x="96" y="86"/>
                    <a:pt x="71" y="111"/>
                  </a:cubicBezTo>
                  <a:cubicBezTo>
                    <a:pt x="69" y="113"/>
                    <a:pt x="67" y="115"/>
                    <a:pt x="67" y="117"/>
                  </a:cubicBezTo>
                  <a:cubicBezTo>
                    <a:pt x="59" y="140"/>
                    <a:pt x="51" y="162"/>
                    <a:pt x="44" y="185"/>
                  </a:cubicBezTo>
                  <a:cubicBezTo>
                    <a:pt x="47" y="185"/>
                    <a:pt x="49" y="184"/>
                    <a:pt x="50" y="182"/>
                  </a:cubicBezTo>
                  <a:cubicBezTo>
                    <a:pt x="74" y="159"/>
                    <a:pt x="97" y="135"/>
                    <a:pt x="121" y="112"/>
                  </a:cubicBezTo>
                  <a:cubicBezTo>
                    <a:pt x="130" y="103"/>
                    <a:pt x="136" y="102"/>
                    <a:pt x="145" y="111"/>
                  </a:cubicBezTo>
                  <a:cubicBezTo>
                    <a:pt x="156" y="123"/>
                    <a:pt x="168" y="135"/>
                    <a:pt x="180" y="147"/>
                  </a:cubicBezTo>
                  <a:cubicBezTo>
                    <a:pt x="186" y="153"/>
                    <a:pt x="191" y="160"/>
                    <a:pt x="201" y="156"/>
                  </a:cubicBezTo>
                  <a:cubicBezTo>
                    <a:pt x="203" y="155"/>
                    <a:pt x="208" y="159"/>
                    <a:pt x="211" y="161"/>
                  </a:cubicBezTo>
                  <a:cubicBezTo>
                    <a:pt x="247" y="197"/>
                    <a:pt x="283" y="233"/>
                    <a:pt x="318" y="269"/>
                  </a:cubicBezTo>
                  <a:cubicBezTo>
                    <a:pt x="321" y="271"/>
                    <a:pt x="324" y="277"/>
                    <a:pt x="323" y="279"/>
                  </a:cubicBezTo>
                  <a:cubicBezTo>
                    <a:pt x="320" y="287"/>
                    <a:pt x="324" y="291"/>
                    <a:pt x="329" y="296"/>
                  </a:cubicBezTo>
                  <a:cubicBezTo>
                    <a:pt x="410" y="377"/>
                    <a:pt x="492" y="459"/>
                    <a:pt x="573" y="540"/>
                  </a:cubicBezTo>
                  <a:cubicBezTo>
                    <a:pt x="576" y="543"/>
                    <a:pt x="579" y="545"/>
                    <a:pt x="582" y="549"/>
                  </a:cubicBezTo>
                  <a:close/>
                  <a:moveTo>
                    <a:pt x="123" y="264"/>
                  </a:moveTo>
                  <a:cubicBezTo>
                    <a:pt x="123" y="264"/>
                    <a:pt x="124" y="265"/>
                    <a:pt x="124" y="265"/>
                  </a:cubicBezTo>
                  <a:cubicBezTo>
                    <a:pt x="146" y="258"/>
                    <a:pt x="169" y="251"/>
                    <a:pt x="191" y="243"/>
                  </a:cubicBezTo>
                  <a:cubicBezTo>
                    <a:pt x="201" y="239"/>
                    <a:pt x="207" y="241"/>
                    <a:pt x="214" y="248"/>
                  </a:cubicBezTo>
                  <a:cubicBezTo>
                    <a:pt x="232" y="267"/>
                    <a:pt x="250" y="284"/>
                    <a:pt x="268" y="302"/>
                  </a:cubicBezTo>
                  <a:cubicBezTo>
                    <a:pt x="277" y="294"/>
                    <a:pt x="285" y="286"/>
                    <a:pt x="293" y="278"/>
                  </a:cubicBezTo>
                  <a:cubicBezTo>
                    <a:pt x="262" y="247"/>
                    <a:pt x="231" y="217"/>
                    <a:pt x="201" y="186"/>
                  </a:cubicBezTo>
                  <a:cubicBezTo>
                    <a:pt x="174" y="212"/>
                    <a:pt x="149" y="238"/>
                    <a:pt x="123" y="264"/>
                  </a:cubicBezTo>
                  <a:close/>
                </a:path>
              </a:pathLst>
            </a:custGeom>
            <a:solidFill>
              <a:srgbClr val="E900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1322131-D9E7-4EBA-89ED-5CC25E8FE53D}"/>
              </a:ext>
            </a:extLst>
          </p:cNvPr>
          <p:cNvGrpSpPr/>
          <p:nvPr/>
        </p:nvGrpSpPr>
        <p:grpSpPr>
          <a:xfrm>
            <a:off x="9004784" y="1566185"/>
            <a:ext cx="1571883" cy="1095808"/>
            <a:chOff x="9795696" y="4181853"/>
            <a:chExt cx="1571883" cy="1095808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2E3749A-A360-4C72-A537-F53E71EEB1F8}"/>
                </a:ext>
              </a:extLst>
            </p:cNvPr>
            <p:cNvSpPr/>
            <p:nvPr/>
          </p:nvSpPr>
          <p:spPr>
            <a:xfrm>
              <a:off x="9795696" y="4754441"/>
              <a:ext cx="1571883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Available Services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22D032A7-C2A6-4848-88DD-225F553D1473}"/>
                </a:ext>
              </a:extLst>
            </p:cNvPr>
            <p:cNvGrpSpPr/>
            <p:nvPr/>
          </p:nvGrpSpPr>
          <p:grpSpPr>
            <a:xfrm>
              <a:off x="10318925" y="4181853"/>
              <a:ext cx="482600" cy="469900"/>
              <a:chOff x="7304088" y="3638550"/>
              <a:chExt cx="482600" cy="469900"/>
            </a:xfrm>
          </p:grpSpPr>
          <p:sp>
            <p:nvSpPr>
              <p:cNvPr id="25" name="Freeform 80">
                <a:extLst>
                  <a:ext uri="{FF2B5EF4-FFF2-40B4-BE49-F238E27FC236}">
                    <a16:creationId xmlns:a16="http://schemas.microsoft.com/office/drawing/2014/main" id="{A011480E-C721-4ABB-9FF1-472CF645C6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4088" y="3668713"/>
                <a:ext cx="439737" cy="439737"/>
              </a:xfrm>
              <a:custGeom>
                <a:avLst/>
                <a:gdLst>
                  <a:gd name="T0" fmla="*/ 263 w 526"/>
                  <a:gd name="T1" fmla="*/ 526 h 526"/>
                  <a:gd name="T2" fmla="*/ 0 w 526"/>
                  <a:gd name="T3" fmla="*/ 263 h 526"/>
                  <a:gd name="T4" fmla="*/ 263 w 526"/>
                  <a:gd name="T5" fmla="*/ 0 h 526"/>
                  <a:gd name="T6" fmla="*/ 418 w 526"/>
                  <a:gd name="T7" fmla="*/ 50 h 526"/>
                  <a:gd name="T8" fmla="*/ 422 w 526"/>
                  <a:gd name="T9" fmla="*/ 75 h 526"/>
                  <a:gd name="T10" fmla="*/ 397 w 526"/>
                  <a:gd name="T11" fmla="*/ 79 h 526"/>
                  <a:gd name="T12" fmla="*/ 263 w 526"/>
                  <a:gd name="T13" fmla="*/ 36 h 526"/>
                  <a:gd name="T14" fmla="*/ 36 w 526"/>
                  <a:gd name="T15" fmla="*/ 263 h 526"/>
                  <a:gd name="T16" fmla="*/ 263 w 526"/>
                  <a:gd name="T17" fmla="*/ 490 h 526"/>
                  <a:gd name="T18" fmla="*/ 490 w 526"/>
                  <a:gd name="T19" fmla="*/ 263 h 526"/>
                  <a:gd name="T20" fmla="*/ 470 w 526"/>
                  <a:gd name="T21" fmla="*/ 170 h 526"/>
                  <a:gd name="T22" fmla="*/ 479 w 526"/>
                  <a:gd name="T23" fmla="*/ 146 h 526"/>
                  <a:gd name="T24" fmla="*/ 503 w 526"/>
                  <a:gd name="T25" fmla="*/ 155 h 526"/>
                  <a:gd name="T26" fmla="*/ 526 w 526"/>
                  <a:gd name="T27" fmla="*/ 263 h 526"/>
                  <a:gd name="T28" fmla="*/ 263 w 526"/>
                  <a:gd name="T29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26" h="526">
                    <a:moveTo>
                      <a:pt x="263" y="526"/>
                    </a:moveTo>
                    <a:cubicBezTo>
                      <a:pt x="118" y="526"/>
                      <a:pt x="0" y="408"/>
                      <a:pt x="0" y="263"/>
                    </a:cubicBezTo>
                    <a:cubicBezTo>
                      <a:pt x="0" y="118"/>
                      <a:pt x="118" y="0"/>
                      <a:pt x="263" y="0"/>
                    </a:cubicBezTo>
                    <a:cubicBezTo>
                      <a:pt x="319" y="0"/>
                      <a:pt x="373" y="17"/>
                      <a:pt x="418" y="50"/>
                    </a:cubicBezTo>
                    <a:cubicBezTo>
                      <a:pt x="426" y="56"/>
                      <a:pt x="428" y="67"/>
                      <a:pt x="422" y="75"/>
                    </a:cubicBezTo>
                    <a:cubicBezTo>
                      <a:pt x="416" y="84"/>
                      <a:pt x="405" y="85"/>
                      <a:pt x="397" y="79"/>
                    </a:cubicBezTo>
                    <a:cubicBezTo>
                      <a:pt x="358" y="51"/>
                      <a:pt x="311" y="36"/>
                      <a:pt x="263" y="36"/>
                    </a:cubicBezTo>
                    <a:cubicBezTo>
                      <a:pt x="138" y="36"/>
                      <a:pt x="36" y="138"/>
                      <a:pt x="36" y="263"/>
                    </a:cubicBezTo>
                    <a:cubicBezTo>
                      <a:pt x="36" y="388"/>
                      <a:pt x="138" y="490"/>
                      <a:pt x="263" y="490"/>
                    </a:cubicBezTo>
                    <a:cubicBezTo>
                      <a:pt x="388" y="490"/>
                      <a:pt x="490" y="388"/>
                      <a:pt x="490" y="263"/>
                    </a:cubicBezTo>
                    <a:cubicBezTo>
                      <a:pt x="490" y="230"/>
                      <a:pt x="483" y="199"/>
                      <a:pt x="470" y="170"/>
                    </a:cubicBezTo>
                    <a:cubicBezTo>
                      <a:pt x="466" y="161"/>
                      <a:pt x="470" y="150"/>
                      <a:pt x="479" y="146"/>
                    </a:cubicBezTo>
                    <a:cubicBezTo>
                      <a:pt x="488" y="142"/>
                      <a:pt x="499" y="146"/>
                      <a:pt x="503" y="155"/>
                    </a:cubicBezTo>
                    <a:cubicBezTo>
                      <a:pt x="518" y="189"/>
                      <a:pt x="526" y="225"/>
                      <a:pt x="526" y="263"/>
                    </a:cubicBezTo>
                    <a:cubicBezTo>
                      <a:pt x="526" y="408"/>
                      <a:pt x="408" y="526"/>
                      <a:pt x="263" y="526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26" name="Freeform 81">
                <a:extLst>
                  <a:ext uri="{FF2B5EF4-FFF2-40B4-BE49-F238E27FC236}">
                    <a16:creationId xmlns:a16="http://schemas.microsoft.com/office/drawing/2014/main" id="{3AD5F655-D5B5-4D13-A193-7890C16CD8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15213" y="3638550"/>
                <a:ext cx="371475" cy="341312"/>
              </a:xfrm>
              <a:custGeom>
                <a:avLst/>
                <a:gdLst>
                  <a:gd name="T0" fmla="*/ 119 w 445"/>
                  <a:gd name="T1" fmla="*/ 408 h 408"/>
                  <a:gd name="T2" fmla="*/ 119 w 445"/>
                  <a:gd name="T3" fmla="*/ 408 h 408"/>
                  <a:gd name="T4" fmla="*/ 105 w 445"/>
                  <a:gd name="T5" fmla="*/ 401 h 408"/>
                  <a:gd name="T6" fmla="*/ 6 w 445"/>
                  <a:gd name="T7" fmla="*/ 275 h 408"/>
                  <a:gd name="T8" fmla="*/ 9 w 445"/>
                  <a:gd name="T9" fmla="*/ 250 h 408"/>
                  <a:gd name="T10" fmla="*/ 34 w 445"/>
                  <a:gd name="T11" fmla="*/ 253 h 408"/>
                  <a:gd name="T12" fmla="*/ 119 w 445"/>
                  <a:gd name="T13" fmla="*/ 361 h 408"/>
                  <a:gd name="T14" fmla="*/ 411 w 445"/>
                  <a:gd name="T15" fmla="*/ 8 h 408"/>
                  <a:gd name="T16" fmla="*/ 436 w 445"/>
                  <a:gd name="T17" fmla="*/ 6 h 408"/>
                  <a:gd name="T18" fmla="*/ 438 w 445"/>
                  <a:gd name="T19" fmla="*/ 31 h 408"/>
                  <a:gd name="T20" fmla="*/ 133 w 445"/>
                  <a:gd name="T21" fmla="*/ 401 h 408"/>
                  <a:gd name="T22" fmla="*/ 119 w 445"/>
                  <a:gd name="T23" fmla="*/ 408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45" h="408">
                    <a:moveTo>
                      <a:pt x="119" y="408"/>
                    </a:moveTo>
                    <a:cubicBezTo>
                      <a:pt x="119" y="408"/>
                      <a:pt x="119" y="408"/>
                      <a:pt x="119" y="408"/>
                    </a:cubicBezTo>
                    <a:cubicBezTo>
                      <a:pt x="113" y="408"/>
                      <a:pt x="108" y="405"/>
                      <a:pt x="105" y="401"/>
                    </a:cubicBezTo>
                    <a:cubicBezTo>
                      <a:pt x="6" y="275"/>
                      <a:pt x="6" y="275"/>
                      <a:pt x="6" y="275"/>
                    </a:cubicBezTo>
                    <a:cubicBezTo>
                      <a:pt x="0" y="267"/>
                      <a:pt x="1" y="256"/>
                      <a:pt x="9" y="250"/>
                    </a:cubicBezTo>
                    <a:cubicBezTo>
                      <a:pt x="17" y="244"/>
                      <a:pt x="28" y="245"/>
                      <a:pt x="34" y="253"/>
                    </a:cubicBezTo>
                    <a:cubicBezTo>
                      <a:pt x="119" y="361"/>
                      <a:pt x="119" y="361"/>
                      <a:pt x="119" y="361"/>
                    </a:cubicBezTo>
                    <a:cubicBezTo>
                      <a:pt x="411" y="8"/>
                      <a:pt x="411" y="8"/>
                      <a:pt x="411" y="8"/>
                    </a:cubicBezTo>
                    <a:cubicBezTo>
                      <a:pt x="417" y="1"/>
                      <a:pt x="428" y="0"/>
                      <a:pt x="436" y="6"/>
                    </a:cubicBezTo>
                    <a:cubicBezTo>
                      <a:pt x="444" y="12"/>
                      <a:pt x="445" y="24"/>
                      <a:pt x="438" y="31"/>
                    </a:cubicBezTo>
                    <a:cubicBezTo>
                      <a:pt x="133" y="401"/>
                      <a:pt x="133" y="401"/>
                      <a:pt x="133" y="401"/>
                    </a:cubicBezTo>
                    <a:cubicBezTo>
                      <a:pt x="129" y="405"/>
                      <a:pt x="124" y="408"/>
                      <a:pt x="119" y="408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4AD047C-BFC8-4392-BB22-32A5C31E97DA}"/>
              </a:ext>
            </a:extLst>
          </p:cNvPr>
          <p:cNvGrpSpPr/>
          <p:nvPr/>
        </p:nvGrpSpPr>
        <p:grpSpPr>
          <a:xfrm>
            <a:off x="5243929" y="3184370"/>
            <a:ext cx="1729071" cy="841566"/>
            <a:chOff x="4273522" y="2678113"/>
            <a:chExt cx="1729071" cy="841566"/>
          </a:xfrm>
        </p:grpSpPr>
        <p:sp>
          <p:nvSpPr>
            <p:cNvPr id="28" name="Freeform 52">
              <a:extLst>
                <a:ext uri="{FF2B5EF4-FFF2-40B4-BE49-F238E27FC236}">
                  <a16:creationId xmlns:a16="http://schemas.microsoft.com/office/drawing/2014/main" id="{98795EC3-DF3B-433E-8A76-F08C6A084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5075" y="3073400"/>
              <a:ext cx="165100" cy="120650"/>
            </a:xfrm>
            <a:custGeom>
              <a:avLst/>
              <a:gdLst>
                <a:gd name="T0" fmla="*/ 18 w 198"/>
                <a:gd name="T1" fmla="*/ 2 h 145"/>
                <a:gd name="T2" fmla="*/ 31 w 198"/>
                <a:gd name="T3" fmla="*/ 9 h 145"/>
                <a:gd name="T4" fmla="*/ 99 w 198"/>
                <a:gd name="T5" fmla="*/ 102 h 145"/>
                <a:gd name="T6" fmla="*/ 167 w 198"/>
                <a:gd name="T7" fmla="*/ 9 h 145"/>
                <a:gd name="T8" fmla="*/ 189 w 198"/>
                <a:gd name="T9" fmla="*/ 6 h 145"/>
                <a:gd name="T10" fmla="*/ 193 w 198"/>
                <a:gd name="T11" fmla="*/ 28 h 145"/>
                <a:gd name="T12" fmla="*/ 112 w 198"/>
                <a:gd name="T13" fmla="*/ 139 h 145"/>
                <a:gd name="T14" fmla="*/ 99 w 198"/>
                <a:gd name="T15" fmla="*/ 145 h 145"/>
                <a:gd name="T16" fmla="*/ 86 w 198"/>
                <a:gd name="T17" fmla="*/ 139 h 145"/>
                <a:gd name="T18" fmla="*/ 5 w 198"/>
                <a:gd name="T19" fmla="*/ 28 h 145"/>
                <a:gd name="T20" fmla="*/ 9 w 198"/>
                <a:gd name="T21" fmla="*/ 6 h 145"/>
                <a:gd name="T22" fmla="*/ 18 w 198"/>
                <a:gd name="T23" fmla="*/ 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145">
                  <a:moveTo>
                    <a:pt x="18" y="2"/>
                  </a:moveTo>
                  <a:cubicBezTo>
                    <a:pt x="23" y="2"/>
                    <a:pt x="28" y="5"/>
                    <a:pt x="31" y="9"/>
                  </a:cubicBezTo>
                  <a:cubicBezTo>
                    <a:pt x="99" y="102"/>
                    <a:pt x="99" y="102"/>
                    <a:pt x="99" y="102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72" y="2"/>
                    <a:pt x="182" y="0"/>
                    <a:pt x="189" y="6"/>
                  </a:cubicBezTo>
                  <a:cubicBezTo>
                    <a:pt x="197" y="11"/>
                    <a:pt x="198" y="21"/>
                    <a:pt x="193" y="28"/>
                  </a:cubicBezTo>
                  <a:cubicBezTo>
                    <a:pt x="112" y="139"/>
                    <a:pt x="112" y="139"/>
                    <a:pt x="112" y="139"/>
                  </a:cubicBezTo>
                  <a:cubicBezTo>
                    <a:pt x="109" y="143"/>
                    <a:pt x="104" y="145"/>
                    <a:pt x="99" y="145"/>
                  </a:cubicBezTo>
                  <a:cubicBezTo>
                    <a:pt x="94" y="145"/>
                    <a:pt x="89" y="143"/>
                    <a:pt x="86" y="139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0" y="21"/>
                    <a:pt x="1" y="11"/>
                    <a:pt x="9" y="6"/>
                  </a:cubicBezTo>
                  <a:cubicBezTo>
                    <a:pt x="11" y="3"/>
                    <a:pt x="15" y="2"/>
                    <a:pt x="18" y="2"/>
                  </a:cubicBezTo>
                  <a:close/>
                </a:path>
              </a:pathLst>
            </a:custGeom>
            <a:solidFill>
              <a:srgbClr val="E900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endParaRPr>
            </a:p>
          </p:txBody>
        </p:sp>
        <p:sp>
          <p:nvSpPr>
            <p:cNvPr id="29" name="Freeform 53">
              <a:extLst>
                <a:ext uri="{FF2B5EF4-FFF2-40B4-BE49-F238E27FC236}">
                  <a16:creationId xmlns:a16="http://schemas.microsoft.com/office/drawing/2014/main" id="{3E5E61D8-0B42-4F9C-BCEC-C60EDDC24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1750" y="2863850"/>
              <a:ext cx="30162" cy="314325"/>
            </a:xfrm>
            <a:custGeom>
              <a:avLst/>
              <a:gdLst>
                <a:gd name="T0" fmla="*/ 18 w 36"/>
                <a:gd name="T1" fmla="*/ 376 h 376"/>
                <a:gd name="T2" fmla="*/ 0 w 36"/>
                <a:gd name="T3" fmla="*/ 358 h 376"/>
                <a:gd name="T4" fmla="*/ 0 w 36"/>
                <a:gd name="T5" fmla="*/ 18 h 376"/>
                <a:gd name="T6" fmla="*/ 18 w 36"/>
                <a:gd name="T7" fmla="*/ 0 h 376"/>
                <a:gd name="T8" fmla="*/ 36 w 36"/>
                <a:gd name="T9" fmla="*/ 18 h 376"/>
                <a:gd name="T10" fmla="*/ 36 w 36"/>
                <a:gd name="T11" fmla="*/ 358 h 376"/>
                <a:gd name="T12" fmla="*/ 18 w 36"/>
                <a:gd name="T13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76">
                  <a:moveTo>
                    <a:pt x="18" y="376"/>
                  </a:moveTo>
                  <a:cubicBezTo>
                    <a:pt x="8" y="376"/>
                    <a:pt x="0" y="368"/>
                    <a:pt x="0" y="35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358"/>
                    <a:pt x="36" y="358"/>
                    <a:pt x="36" y="358"/>
                  </a:cubicBezTo>
                  <a:cubicBezTo>
                    <a:pt x="36" y="368"/>
                    <a:pt x="28" y="376"/>
                    <a:pt x="18" y="376"/>
                  </a:cubicBezTo>
                  <a:close/>
                </a:path>
              </a:pathLst>
            </a:custGeom>
            <a:solidFill>
              <a:srgbClr val="E900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56E457D-9C25-4780-BCCC-189FE03F2342}"/>
                </a:ext>
              </a:extLst>
            </p:cNvPr>
            <p:cNvSpPr/>
            <p:nvPr/>
          </p:nvSpPr>
          <p:spPr>
            <a:xfrm>
              <a:off x="4273522" y="3211902"/>
              <a:ext cx="1729071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Calibration history</a:t>
              </a:r>
            </a:p>
          </p:txBody>
        </p:sp>
        <p:sp>
          <p:nvSpPr>
            <p:cNvPr id="31" name="Freeform 54">
              <a:extLst>
                <a:ext uri="{FF2B5EF4-FFF2-40B4-BE49-F238E27FC236}">
                  <a16:creationId xmlns:a16="http://schemas.microsoft.com/office/drawing/2014/main" id="{F35594C2-A158-4DE9-8957-43EC29609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8700" y="2678113"/>
              <a:ext cx="582612" cy="312737"/>
            </a:xfrm>
            <a:custGeom>
              <a:avLst/>
              <a:gdLst>
                <a:gd name="T0" fmla="*/ 679 w 697"/>
                <a:gd name="T1" fmla="*/ 375 h 375"/>
                <a:gd name="T2" fmla="*/ 479 w 697"/>
                <a:gd name="T3" fmla="*/ 375 h 375"/>
                <a:gd name="T4" fmla="*/ 461 w 697"/>
                <a:gd name="T5" fmla="*/ 357 h 375"/>
                <a:gd name="T6" fmla="*/ 479 w 697"/>
                <a:gd name="T7" fmla="*/ 339 h 375"/>
                <a:gd name="T8" fmla="*/ 661 w 697"/>
                <a:gd name="T9" fmla="*/ 339 h 375"/>
                <a:gd name="T10" fmla="*/ 661 w 697"/>
                <a:gd name="T11" fmla="*/ 36 h 375"/>
                <a:gd name="T12" fmla="*/ 36 w 697"/>
                <a:gd name="T13" fmla="*/ 36 h 375"/>
                <a:gd name="T14" fmla="*/ 36 w 697"/>
                <a:gd name="T15" fmla="*/ 339 h 375"/>
                <a:gd name="T16" fmla="*/ 217 w 697"/>
                <a:gd name="T17" fmla="*/ 339 h 375"/>
                <a:gd name="T18" fmla="*/ 235 w 697"/>
                <a:gd name="T19" fmla="*/ 357 h 375"/>
                <a:gd name="T20" fmla="*/ 217 w 697"/>
                <a:gd name="T21" fmla="*/ 375 h 375"/>
                <a:gd name="T22" fmla="*/ 18 w 697"/>
                <a:gd name="T23" fmla="*/ 375 h 375"/>
                <a:gd name="T24" fmla="*/ 0 w 697"/>
                <a:gd name="T25" fmla="*/ 357 h 375"/>
                <a:gd name="T26" fmla="*/ 0 w 697"/>
                <a:gd name="T27" fmla="*/ 18 h 375"/>
                <a:gd name="T28" fmla="*/ 18 w 697"/>
                <a:gd name="T29" fmla="*/ 0 h 375"/>
                <a:gd name="T30" fmla="*/ 679 w 697"/>
                <a:gd name="T31" fmla="*/ 0 h 375"/>
                <a:gd name="T32" fmla="*/ 697 w 697"/>
                <a:gd name="T33" fmla="*/ 18 h 375"/>
                <a:gd name="T34" fmla="*/ 697 w 697"/>
                <a:gd name="T35" fmla="*/ 357 h 375"/>
                <a:gd name="T36" fmla="*/ 679 w 697"/>
                <a:gd name="T37" fmla="*/ 375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97" h="375">
                  <a:moveTo>
                    <a:pt x="679" y="375"/>
                  </a:moveTo>
                  <a:cubicBezTo>
                    <a:pt x="479" y="375"/>
                    <a:pt x="479" y="375"/>
                    <a:pt x="479" y="375"/>
                  </a:cubicBezTo>
                  <a:cubicBezTo>
                    <a:pt x="469" y="375"/>
                    <a:pt x="461" y="367"/>
                    <a:pt x="461" y="357"/>
                  </a:cubicBezTo>
                  <a:cubicBezTo>
                    <a:pt x="461" y="347"/>
                    <a:pt x="469" y="339"/>
                    <a:pt x="479" y="339"/>
                  </a:cubicBezTo>
                  <a:cubicBezTo>
                    <a:pt x="661" y="339"/>
                    <a:pt x="661" y="339"/>
                    <a:pt x="661" y="339"/>
                  </a:cubicBezTo>
                  <a:cubicBezTo>
                    <a:pt x="661" y="36"/>
                    <a:pt x="661" y="36"/>
                    <a:pt x="661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339"/>
                    <a:pt x="36" y="339"/>
                    <a:pt x="36" y="339"/>
                  </a:cubicBezTo>
                  <a:cubicBezTo>
                    <a:pt x="217" y="339"/>
                    <a:pt x="217" y="339"/>
                    <a:pt x="217" y="339"/>
                  </a:cubicBezTo>
                  <a:cubicBezTo>
                    <a:pt x="227" y="339"/>
                    <a:pt x="235" y="347"/>
                    <a:pt x="235" y="357"/>
                  </a:cubicBezTo>
                  <a:cubicBezTo>
                    <a:pt x="235" y="367"/>
                    <a:pt x="227" y="375"/>
                    <a:pt x="217" y="375"/>
                  </a:cubicBezTo>
                  <a:cubicBezTo>
                    <a:pt x="18" y="375"/>
                    <a:pt x="18" y="375"/>
                    <a:pt x="18" y="375"/>
                  </a:cubicBezTo>
                  <a:cubicBezTo>
                    <a:pt x="8" y="375"/>
                    <a:pt x="0" y="367"/>
                    <a:pt x="0" y="357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679" y="0"/>
                    <a:pt x="679" y="0"/>
                    <a:pt x="679" y="0"/>
                  </a:cubicBezTo>
                  <a:cubicBezTo>
                    <a:pt x="689" y="0"/>
                    <a:pt x="697" y="8"/>
                    <a:pt x="697" y="18"/>
                  </a:cubicBezTo>
                  <a:cubicBezTo>
                    <a:pt x="697" y="357"/>
                    <a:pt x="697" y="357"/>
                    <a:pt x="697" y="357"/>
                  </a:cubicBezTo>
                  <a:cubicBezTo>
                    <a:pt x="697" y="367"/>
                    <a:pt x="689" y="375"/>
                    <a:pt x="679" y="375"/>
                  </a:cubicBezTo>
                  <a:close/>
                </a:path>
              </a:pathLst>
            </a:custGeom>
            <a:solidFill>
              <a:srgbClr val="E900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1A62E76-9A42-45E4-9FA5-3F2ED0FECC0A}"/>
              </a:ext>
            </a:extLst>
          </p:cNvPr>
          <p:cNvGrpSpPr/>
          <p:nvPr/>
        </p:nvGrpSpPr>
        <p:grpSpPr>
          <a:xfrm>
            <a:off x="6752387" y="3112933"/>
            <a:ext cx="2301394" cy="1128446"/>
            <a:chOff x="6720580" y="2606676"/>
            <a:chExt cx="2301394" cy="1128446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7FE3045B-8567-4980-8AD8-1530760FA20D}"/>
                </a:ext>
              </a:extLst>
            </p:cNvPr>
            <p:cNvSpPr/>
            <p:nvPr/>
          </p:nvSpPr>
          <p:spPr>
            <a:xfrm>
              <a:off x="6720580" y="3211902"/>
              <a:ext cx="230139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Firmware upgrade reminder</a:t>
              </a: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7514753F-9131-43D6-BECD-EC3912D28D5B}"/>
                </a:ext>
              </a:extLst>
            </p:cNvPr>
            <p:cNvGrpSpPr/>
            <p:nvPr/>
          </p:nvGrpSpPr>
          <p:grpSpPr>
            <a:xfrm>
              <a:off x="7563169" y="2606676"/>
              <a:ext cx="612774" cy="584199"/>
              <a:chOff x="6065838" y="2606676"/>
              <a:chExt cx="612774" cy="584199"/>
            </a:xfrm>
          </p:grpSpPr>
          <p:sp>
            <p:nvSpPr>
              <p:cNvPr id="35" name="Freeform 55">
                <a:extLst>
                  <a:ext uri="{FF2B5EF4-FFF2-40B4-BE49-F238E27FC236}">
                    <a16:creationId xmlns:a16="http://schemas.microsoft.com/office/drawing/2014/main" id="{510DD7D8-EB26-4119-A570-212CA3E985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4450" y="2635250"/>
                <a:ext cx="217487" cy="339725"/>
              </a:xfrm>
              <a:custGeom>
                <a:avLst/>
                <a:gdLst>
                  <a:gd name="T0" fmla="*/ 233 w 259"/>
                  <a:gd name="T1" fmla="*/ 406 h 406"/>
                  <a:gd name="T2" fmla="*/ 229 w 259"/>
                  <a:gd name="T3" fmla="*/ 406 h 406"/>
                  <a:gd name="T4" fmla="*/ 215 w 259"/>
                  <a:gd name="T5" fmla="*/ 384 h 406"/>
                  <a:gd name="T6" fmla="*/ 223 w 259"/>
                  <a:gd name="T7" fmla="*/ 316 h 406"/>
                  <a:gd name="T8" fmla="*/ 15 w 259"/>
                  <a:gd name="T9" fmla="*/ 37 h 406"/>
                  <a:gd name="T10" fmla="*/ 3 w 259"/>
                  <a:gd name="T11" fmla="*/ 15 h 406"/>
                  <a:gd name="T12" fmla="*/ 25 w 259"/>
                  <a:gd name="T13" fmla="*/ 3 h 406"/>
                  <a:gd name="T14" fmla="*/ 193 w 259"/>
                  <a:gd name="T15" fmla="*/ 119 h 406"/>
                  <a:gd name="T16" fmla="*/ 259 w 259"/>
                  <a:gd name="T17" fmla="*/ 316 h 406"/>
                  <a:gd name="T18" fmla="*/ 250 w 259"/>
                  <a:gd name="T19" fmla="*/ 393 h 406"/>
                  <a:gd name="T20" fmla="*/ 233 w 259"/>
                  <a:gd name="T21" fmla="*/ 406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9" h="406">
                    <a:moveTo>
                      <a:pt x="233" y="406"/>
                    </a:moveTo>
                    <a:cubicBezTo>
                      <a:pt x="231" y="406"/>
                      <a:pt x="230" y="406"/>
                      <a:pt x="229" y="406"/>
                    </a:cubicBezTo>
                    <a:cubicBezTo>
                      <a:pt x="219" y="404"/>
                      <a:pt x="213" y="394"/>
                      <a:pt x="215" y="384"/>
                    </a:cubicBezTo>
                    <a:cubicBezTo>
                      <a:pt x="221" y="362"/>
                      <a:pt x="223" y="339"/>
                      <a:pt x="223" y="316"/>
                    </a:cubicBezTo>
                    <a:cubicBezTo>
                      <a:pt x="223" y="188"/>
                      <a:pt x="138" y="73"/>
                      <a:pt x="15" y="37"/>
                    </a:cubicBezTo>
                    <a:cubicBezTo>
                      <a:pt x="6" y="35"/>
                      <a:pt x="0" y="25"/>
                      <a:pt x="3" y="15"/>
                    </a:cubicBezTo>
                    <a:cubicBezTo>
                      <a:pt x="6" y="5"/>
                      <a:pt x="16" y="0"/>
                      <a:pt x="25" y="3"/>
                    </a:cubicBezTo>
                    <a:cubicBezTo>
                      <a:pt x="91" y="22"/>
                      <a:pt x="151" y="63"/>
                      <a:pt x="193" y="119"/>
                    </a:cubicBezTo>
                    <a:cubicBezTo>
                      <a:pt x="236" y="176"/>
                      <a:pt x="259" y="244"/>
                      <a:pt x="259" y="316"/>
                    </a:cubicBezTo>
                    <a:cubicBezTo>
                      <a:pt x="259" y="342"/>
                      <a:pt x="256" y="368"/>
                      <a:pt x="250" y="393"/>
                    </a:cubicBezTo>
                    <a:cubicBezTo>
                      <a:pt x="248" y="401"/>
                      <a:pt x="241" y="406"/>
                      <a:pt x="233" y="406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36" name="Freeform 56">
                <a:extLst>
                  <a:ext uri="{FF2B5EF4-FFF2-40B4-BE49-F238E27FC236}">
                    <a16:creationId xmlns:a16="http://schemas.microsoft.com/office/drawing/2014/main" id="{50987076-2794-4D16-B88D-A2329D8EDF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6800" y="3071813"/>
                <a:ext cx="384175" cy="100012"/>
              </a:xfrm>
              <a:custGeom>
                <a:avLst/>
                <a:gdLst>
                  <a:gd name="T0" fmla="*/ 230 w 460"/>
                  <a:gd name="T1" fmla="*/ 120 h 120"/>
                  <a:gd name="T2" fmla="*/ 8 w 460"/>
                  <a:gd name="T3" fmla="*/ 33 h 120"/>
                  <a:gd name="T4" fmla="*/ 7 w 460"/>
                  <a:gd name="T5" fmla="*/ 8 h 120"/>
                  <a:gd name="T6" fmla="*/ 32 w 460"/>
                  <a:gd name="T7" fmla="*/ 7 h 120"/>
                  <a:gd name="T8" fmla="*/ 230 w 460"/>
                  <a:gd name="T9" fmla="*/ 84 h 120"/>
                  <a:gd name="T10" fmla="*/ 428 w 460"/>
                  <a:gd name="T11" fmla="*/ 7 h 120"/>
                  <a:gd name="T12" fmla="*/ 453 w 460"/>
                  <a:gd name="T13" fmla="*/ 8 h 120"/>
                  <a:gd name="T14" fmla="*/ 452 w 460"/>
                  <a:gd name="T15" fmla="*/ 33 h 120"/>
                  <a:gd name="T16" fmla="*/ 230 w 460"/>
                  <a:gd name="T17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0" h="120">
                    <a:moveTo>
                      <a:pt x="230" y="120"/>
                    </a:moveTo>
                    <a:cubicBezTo>
                      <a:pt x="147" y="120"/>
                      <a:pt x="68" y="89"/>
                      <a:pt x="8" y="33"/>
                    </a:cubicBezTo>
                    <a:cubicBezTo>
                      <a:pt x="1" y="26"/>
                      <a:pt x="0" y="15"/>
                      <a:pt x="7" y="8"/>
                    </a:cubicBezTo>
                    <a:cubicBezTo>
                      <a:pt x="14" y="0"/>
                      <a:pt x="25" y="0"/>
                      <a:pt x="32" y="7"/>
                    </a:cubicBezTo>
                    <a:cubicBezTo>
                      <a:pt x="86" y="57"/>
                      <a:pt x="156" y="84"/>
                      <a:pt x="230" y="84"/>
                    </a:cubicBezTo>
                    <a:cubicBezTo>
                      <a:pt x="304" y="84"/>
                      <a:pt x="374" y="57"/>
                      <a:pt x="428" y="7"/>
                    </a:cubicBezTo>
                    <a:cubicBezTo>
                      <a:pt x="435" y="0"/>
                      <a:pt x="446" y="0"/>
                      <a:pt x="453" y="8"/>
                    </a:cubicBezTo>
                    <a:cubicBezTo>
                      <a:pt x="460" y="15"/>
                      <a:pt x="460" y="26"/>
                      <a:pt x="452" y="33"/>
                    </a:cubicBezTo>
                    <a:cubicBezTo>
                      <a:pt x="392" y="89"/>
                      <a:pt x="313" y="120"/>
                      <a:pt x="230" y="120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37" name="Freeform 57">
                <a:extLst>
                  <a:ext uri="{FF2B5EF4-FFF2-40B4-BE49-F238E27FC236}">
                    <a16:creationId xmlns:a16="http://schemas.microsoft.com/office/drawing/2014/main" id="{86F7734C-4F00-4322-8B9A-4F600570C0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5838" y="2635250"/>
                <a:ext cx="217487" cy="339725"/>
              </a:xfrm>
              <a:custGeom>
                <a:avLst/>
                <a:gdLst>
                  <a:gd name="T0" fmla="*/ 26 w 259"/>
                  <a:gd name="T1" fmla="*/ 406 h 406"/>
                  <a:gd name="T2" fmla="*/ 9 w 259"/>
                  <a:gd name="T3" fmla="*/ 393 h 406"/>
                  <a:gd name="T4" fmla="*/ 0 w 259"/>
                  <a:gd name="T5" fmla="*/ 316 h 406"/>
                  <a:gd name="T6" fmla="*/ 66 w 259"/>
                  <a:gd name="T7" fmla="*/ 119 h 406"/>
                  <a:gd name="T8" fmla="*/ 234 w 259"/>
                  <a:gd name="T9" fmla="*/ 3 h 406"/>
                  <a:gd name="T10" fmla="*/ 256 w 259"/>
                  <a:gd name="T11" fmla="*/ 15 h 406"/>
                  <a:gd name="T12" fmla="*/ 244 w 259"/>
                  <a:gd name="T13" fmla="*/ 37 h 406"/>
                  <a:gd name="T14" fmla="*/ 36 w 259"/>
                  <a:gd name="T15" fmla="*/ 316 h 406"/>
                  <a:gd name="T16" fmla="*/ 44 w 259"/>
                  <a:gd name="T17" fmla="*/ 384 h 406"/>
                  <a:gd name="T18" fmla="*/ 31 w 259"/>
                  <a:gd name="T19" fmla="*/ 406 h 406"/>
                  <a:gd name="T20" fmla="*/ 26 w 259"/>
                  <a:gd name="T21" fmla="*/ 406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9" h="406">
                    <a:moveTo>
                      <a:pt x="26" y="406"/>
                    </a:moveTo>
                    <a:cubicBezTo>
                      <a:pt x="18" y="406"/>
                      <a:pt x="11" y="401"/>
                      <a:pt x="9" y="393"/>
                    </a:cubicBezTo>
                    <a:cubicBezTo>
                      <a:pt x="3" y="368"/>
                      <a:pt x="0" y="342"/>
                      <a:pt x="0" y="316"/>
                    </a:cubicBezTo>
                    <a:cubicBezTo>
                      <a:pt x="0" y="244"/>
                      <a:pt x="23" y="176"/>
                      <a:pt x="66" y="119"/>
                    </a:cubicBezTo>
                    <a:cubicBezTo>
                      <a:pt x="108" y="63"/>
                      <a:pt x="168" y="22"/>
                      <a:pt x="234" y="3"/>
                    </a:cubicBezTo>
                    <a:cubicBezTo>
                      <a:pt x="243" y="0"/>
                      <a:pt x="253" y="5"/>
                      <a:pt x="256" y="15"/>
                    </a:cubicBezTo>
                    <a:cubicBezTo>
                      <a:pt x="259" y="25"/>
                      <a:pt x="254" y="35"/>
                      <a:pt x="244" y="37"/>
                    </a:cubicBezTo>
                    <a:cubicBezTo>
                      <a:pt x="121" y="73"/>
                      <a:pt x="36" y="188"/>
                      <a:pt x="36" y="316"/>
                    </a:cubicBezTo>
                    <a:cubicBezTo>
                      <a:pt x="36" y="339"/>
                      <a:pt x="38" y="362"/>
                      <a:pt x="44" y="384"/>
                    </a:cubicBezTo>
                    <a:cubicBezTo>
                      <a:pt x="46" y="394"/>
                      <a:pt x="40" y="404"/>
                      <a:pt x="31" y="406"/>
                    </a:cubicBezTo>
                    <a:cubicBezTo>
                      <a:pt x="29" y="406"/>
                      <a:pt x="28" y="406"/>
                      <a:pt x="26" y="406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38" name="Freeform 59">
                <a:extLst>
                  <a:ext uri="{FF2B5EF4-FFF2-40B4-BE49-F238E27FC236}">
                    <a16:creationId xmlns:a16="http://schemas.microsoft.com/office/drawing/2014/main" id="{A41D6338-AF3C-4E7C-81CD-C8B2FF190E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5100" y="2889250"/>
                <a:ext cx="163512" cy="122237"/>
              </a:xfrm>
              <a:custGeom>
                <a:avLst/>
                <a:gdLst>
                  <a:gd name="T0" fmla="*/ 84 w 196"/>
                  <a:gd name="T1" fmla="*/ 146 h 146"/>
                  <a:gd name="T2" fmla="*/ 82 w 196"/>
                  <a:gd name="T3" fmla="*/ 145 h 146"/>
                  <a:gd name="T4" fmla="*/ 69 w 196"/>
                  <a:gd name="T5" fmla="*/ 137 h 146"/>
                  <a:gd name="T6" fmla="*/ 5 w 196"/>
                  <a:gd name="T7" fmla="*/ 30 h 146"/>
                  <a:gd name="T8" fmla="*/ 12 w 196"/>
                  <a:gd name="T9" fmla="*/ 5 h 146"/>
                  <a:gd name="T10" fmla="*/ 36 w 196"/>
                  <a:gd name="T11" fmla="*/ 11 h 146"/>
                  <a:gd name="T12" fmla="*/ 88 w 196"/>
                  <a:gd name="T13" fmla="*/ 98 h 146"/>
                  <a:gd name="T14" fmla="*/ 163 w 196"/>
                  <a:gd name="T15" fmla="*/ 22 h 146"/>
                  <a:gd name="T16" fmla="*/ 189 w 196"/>
                  <a:gd name="T17" fmla="*/ 22 h 146"/>
                  <a:gd name="T18" fmla="*/ 189 w 196"/>
                  <a:gd name="T19" fmla="*/ 48 h 146"/>
                  <a:gd name="T20" fmla="*/ 97 w 196"/>
                  <a:gd name="T21" fmla="*/ 140 h 146"/>
                  <a:gd name="T22" fmla="*/ 84 w 196"/>
                  <a:gd name="T23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6" h="146">
                    <a:moveTo>
                      <a:pt x="84" y="146"/>
                    </a:moveTo>
                    <a:cubicBezTo>
                      <a:pt x="84" y="146"/>
                      <a:pt x="83" y="146"/>
                      <a:pt x="82" y="145"/>
                    </a:cubicBezTo>
                    <a:cubicBezTo>
                      <a:pt x="77" y="145"/>
                      <a:pt x="72" y="142"/>
                      <a:pt x="69" y="137"/>
                    </a:cubicBezTo>
                    <a:cubicBezTo>
                      <a:pt x="5" y="30"/>
                      <a:pt x="5" y="30"/>
                      <a:pt x="5" y="30"/>
                    </a:cubicBezTo>
                    <a:cubicBezTo>
                      <a:pt x="0" y="21"/>
                      <a:pt x="3" y="10"/>
                      <a:pt x="12" y="5"/>
                    </a:cubicBezTo>
                    <a:cubicBezTo>
                      <a:pt x="20" y="0"/>
                      <a:pt x="31" y="3"/>
                      <a:pt x="36" y="11"/>
                    </a:cubicBezTo>
                    <a:cubicBezTo>
                      <a:pt x="88" y="98"/>
                      <a:pt x="88" y="98"/>
                      <a:pt x="88" y="98"/>
                    </a:cubicBezTo>
                    <a:cubicBezTo>
                      <a:pt x="163" y="22"/>
                      <a:pt x="163" y="22"/>
                      <a:pt x="163" y="22"/>
                    </a:cubicBezTo>
                    <a:cubicBezTo>
                      <a:pt x="170" y="15"/>
                      <a:pt x="182" y="15"/>
                      <a:pt x="189" y="22"/>
                    </a:cubicBezTo>
                    <a:cubicBezTo>
                      <a:pt x="196" y="29"/>
                      <a:pt x="196" y="40"/>
                      <a:pt x="189" y="48"/>
                    </a:cubicBezTo>
                    <a:cubicBezTo>
                      <a:pt x="97" y="140"/>
                      <a:pt x="97" y="140"/>
                      <a:pt x="97" y="140"/>
                    </a:cubicBezTo>
                    <a:cubicBezTo>
                      <a:pt x="94" y="144"/>
                      <a:pt x="89" y="146"/>
                      <a:pt x="84" y="146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39" name="Freeform 60">
                <a:extLst>
                  <a:ext uri="{FF2B5EF4-FFF2-40B4-BE49-F238E27FC236}">
                    <a16:creationId xmlns:a16="http://schemas.microsoft.com/office/drawing/2014/main" id="{C2DF0873-C011-40E7-92A1-16FB48D222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7750" y="3054350"/>
                <a:ext cx="134937" cy="136525"/>
              </a:xfrm>
              <a:custGeom>
                <a:avLst/>
                <a:gdLst>
                  <a:gd name="T0" fmla="*/ 47 w 162"/>
                  <a:gd name="T1" fmla="*/ 164 h 164"/>
                  <a:gd name="T2" fmla="*/ 30 w 162"/>
                  <a:gd name="T3" fmla="*/ 150 h 164"/>
                  <a:gd name="T4" fmla="*/ 2 w 162"/>
                  <a:gd name="T5" fmla="*/ 22 h 164"/>
                  <a:gd name="T6" fmla="*/ 5 w 162"/>
                  <a:gd name="T7" fmla="*/ 7 h 164"/>
                  <a:gd name="T8" fmla="*/ 20 w 162"/>
                  <a:gd name="T9" fmla="*/ 0 h 164"/>
                  <a:gd name="T10" fmla="*/ 144 w 162"/>
                  <a:gd name="T11" fmla="*/ 5 h 164"/>
                  <a:gd name="T12" fmla="*/ 161 w 162"/>
                  <a:gd name="T13" fmla="*/ 24 h 164"/>
                  <a:gd name="T14" fmla="*/ 143 w 162"/>
                  <a:gd name="T15" fmla="*/ 41 h 164"/>
                  <a:gd name="T16" fmla="*/ 42 w 162"/>
                  <a:gd name="T17" fmla="*/ 37 h 164"/>
                  <a:gd name="T18" fmla="*/ 65 w 162"/>
                  <a:gd name="T19" fmla="*/ 142 h 164"/>
                  <a:gd name="T20" fmla="*/ 51 w 162"/>
                  <a:gd name="T21" fmla="*/ 163 h 164"/>
                  <a:gd name="T22" fmla="*/ 47 w 162"/>
                  <a:gd name="T23" fmla="*/ 164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2" h="164">
                    <a:moveTo>
                      <a:pt x="47" y="164"/>
                    </a:moveTo>
                    <a:cubicBezTo>
                      <a:pt x="39" y="164"/>
                      <a:pt x="31" y="158"/>
                      <a:pt x="30" y="150"/>
                    </a:cubicBezTo>
                    <a:cubicBezTo>
                      <a:pt x="2" y="22"/>
                      <a:pt x="2" y="22"/>
                      <a:pt x="2" y="22"/>
                    </a:cubicBezTo>
                    <a:cubicBezTo>
                      <a:pt x="0" y="17"/>
                      <a:pt x="2" y="11"/>
                      <a:pt x="5" y="7"/>
                    </a:cubicBezTo>
                    <a:cubicBezTo>
                      <a:pt x="9" y="3"/>
                      <a:pt x="14" y="0"/>
                      <a:pt x="20" y="0"/>
                    </a:cubicBezTo>
                    <a:cubicBezTo>
                      <a:pt x="144" y="5"/>
                      <a:pt x="144" y="5"/>
                      <a:pt x="144" y="5"/>
                    </a:cubicBezTo>
                    <a:cubicBezTo>
                      <a:pt x="154" y="6"/>
                      <a:pt x="162" y="14"/>
                      <a:pt x="161" y="24"/>
                    </a:cubicBezTo>
                    <a:cubicBezTo>
                      <a:pt x="161" y="34"/>
                      <a:pt x="153" y="42"/>
                      <a:pt x="143" y="41"/>
                    </a:cubicBezTo>
                    <a:cubicBezTo>
                      <a:pt x="42" y="37"/>
                      <a:pt x="42" y="37"/>
                      <a:pt x="42" y="37"/>
                    </a:cubicBezTo>
                    <a:cubicBezTo>
                      <a:pt x="65" y="142"/>
                      <a:pt x="65" y="142"/>
                      <a:pt x="65" y="142"/>
                    </a:cubicBezTo>
                    <a:cubicBezTo>
                      <a:pt x="67" y="152"/>
                      <a:pt x="61" y="161"/>
                      <a:pt x="51" y="163"/>
                    </a:cubicBezTo>
                    <a:cubicBezTo>
                      <a:pt x="50" y="164"/>
                      <a:pt x="48" y="164"/>
                      <a:pt x="47" y="164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40" name="Freeform 61">
                <a:extLst>
                  <a:ext uri="{FF2B5EF4-FFF2-40B4-BE49-F238E27FC236}">
                    <a16:creationId xmlns:a16="http://schemas.microsoft.com/office/drawing/2014/main" id="{38126DA7-5CF4-4FD1-BECD-4EA050CFC2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6800" y="2606676"/>
                <a:ext cx="138112" cy="147637"/>
              </a:xfrm>
              <a:custGeom>
                <a:avLst/>
                <a:gdLst>
                  <a:gd name="T0" fmla="*/ 91 w 166"/>
                  <a:gd name="T1" fmla="*/ 176 h 176"/>
                  <a:gd name="T2" fmla="*/ 82 w 166"/>
                  <a:gd name="T3" fmla="*/ 174 h 176"/>
                  <a:gd name="T4" fmla="*/ 75 w 166"/>
                  <a:gd name="T5" fmla="*/ 150 h 176"/>
                  <a:gd name="T6" fmla="*/ 121 w 166"/>
                  <a:gd name="T7" fmla="*/ 60 h 176"/>
                  <a:gd name="T8" fmla="*/ 16 w 166"/>
                  <a:gd name="T9" fmla="*/ 37 h 176"/>
                  <a:gd name="T10" fmla="*/ 3 w 166"/>
                  <a:gd name="T11" fmla="*/ 16 h 176"/>
                  <a:gd name="T12" fmla="*/ 24 w 166"/>
                  <a:gd name="T13" fmla="*/ 2 h 176"/>
                  <a:gd name="T14" fmla="*/ 151 w 166"/>
                  <a:gd name="T15" fmla="*/ 30 h 176"/>
                  <a:gd name="T16" fmla="*/ 164 w 166"/>
                  <a:gd name="T17" fmla="*/ 40 h 176"/>
                  <a:gd name="T18" fmla="*/ 163 w 166"/>
                  <a:gd name="T19" fmla="*/ 56 h 176"/>
                  <a:gd name="T20" fmla="*/ 107 w 166"/>
                  <a:gd name="T21" fmla="*/ 167 h 176"/>
                  <a:gd name="T22" fmla="*/ 91 w 166"/>
                  <a:gd name="T23" fmla="*/ 176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6" h="176">
                    <a:moveTo>
                      <a:pt x="91" y="176"/>
                    </a:moveTo>
                    <a:cubicBezTo>
                      <a:pt x="88" y="176"/>
                      <a:pt x="85" y="176"/>
                      <a:pt x="82" y="174"/>
                    </a:cubicBezTo>
                    <a:cubicBezTo>
                      <a:pt x="74" y="170"/>
                      <a:pt x="70" y="159"/>
                      <a:pt x="75" y="150"/>
                    </a:cubicBezTo>
                    <a:cubicBezTo>
                      <a:pt x="121" y="60"/>
                      <a:pt x="121" y="60"/>
                      <a:pt x="121" y="60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7" y="35"/>
                      <a:pt x="0" y="25"/>
                      <a:pt x="3" y="16"/>
                    </a:cubicBezTo>
                    <a:cubicBezTo>
                      <a:pt x="5" y="6"/>
                      <a:pt x="14" y="0"/>
                      <a:pt x="24" y="2"/>
                    </a:cubicBezTo>
                    <a:cubicBezTo>
                      <a:pt x="151" y="30"/>
                      <a:pt x="151" y="30"/>
                      <a:pt x="151" y="30"/>
                    </a:cubicBezTo>
                    <a:cubicBezTo>
                      <a:pt x="157" y="31"/>
                      <a:pt x="161" y="35"/>
                      <a:pt x="164" y="40"/>
                    </a:cubicBezTo>
                    <a:cubicBezTo>
                      <a:pt x="166" y="45"/>
                      <a:pt x="166" y="51"/>
                      <a:pt x="163" y="56"/>
                    </a:cubicBezTo>
                    <a:cubicBezTo>
                      <a:pt x="107" y="167"/>
                      <a:pt x="107" y="167"/>
                      <a:pt x="107" y="167"/>
                    </a:cubicBezTo>
                    <a:cubicBezTo>
                      <a:pt x="103" y="173"/>
                      <a:pt x="97" y="176"/>
                      <a:pt x="91" y="176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41" name="Freeform 62">
                <a:extLst>
                  <a:ext uri="{FF2B5EF4-FFF2-40B4-BE49-F238E27FC236}">
                    <a16:creationId xmlns:a16="http://schemas.microsoft.com/office/drawing/2014/main" id="{781DADA4-8EDE-4A36-AE94-CCA434A26E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65863" y="2820988"/>
                <a:ext cx="147637" cy="150812"/>
              </a:xfrm>
              <a:custGeom>
                <a:avLst/>
                <a:gdLst>
                  <a:gd name="T0" fmla="*/ 89 w 178"/>
                  <a:gd name="T1" fmla="*/ 179 h 179"/>
                  <a:gd name="T2" fmla="*/ 0 w 178"/>
                  <a:gd name="T3" fmla="*/ 90 h 179"/>
                  <a:gd name="T4" fmla="*/ 89 w 178"/>
                  <a:gd name="T5" fmla="*/ 0 h 179"/>
                  <a:gd name="T6" fmla="*/ 178 w 178"/>
                  <a:gd name="T7" fmla="*/ 90 h 179"/>
                  <a:gd name="T8" fmla="*/ 89 w 178"/>
                  <a:gd name="T9" fmla="*/ 179 h 179"/>
                  <a:gd name="T10" fmla="*/ 89 w 178"/>
                  <a:gd name="T11" fmla="*/ 36 h 179"/>
                  <a:gd name="T12" fmla="*/ 36 w 178"/>
                  <a:gd name="T13" fmla="*/ 90 h 179"/>
                  <a:gd name="T14" fmla="*/ 89 w 178"/>
                  <a:gd name="T15" fmla="*/ 143 h 179"/>
                  <a:gd name="T16" fmla="*/ 142 w 178"/>
                  <a:gd name="T17" fmla="*/ 90 h 179"/>
                  <a:gd name="T18" fmla="*/ 89 w 178"/>
                  <a:gd name="T19" fmla="*/ 36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8" h="179">
                    <a:moveTo>
                      <a:pt x="89" y="179"/>
                    </a:moveTo>
                    <a:cubicBezTo>
                      <a:pt x="40" y="179"/>
                      <a:pt x="0" y="139"/>
                      <a:pt x="0" y="90"/>
                    </a:cubicBezTo>
                    <a:cubicBezTo>
                      <a:pt x="0" y="40"/>
                      <a:pt x="40" y="0"/>
                      <a:pt x="89" y="0"/>
                    </a:cubicBezTo>
                    <a:cubicBezTo>
                      <a:pt x="138" y="0"/>
                      <a:pt x="178" y="40"/>
                      <a:pt x="178" y="90"/>
                    </a:cubicBezTo>
                    <a:cubicBezTo>
                      <a:pt x="178" y="139"/>
                      <a:pt x="138" y="179"/>
                      <a:pt x="89" y="179"/>
                    </a:cubicBezTo>
                    <a:close/>
                    <a:moveTo>
                      <a:pt x="89" y="36"/>
                    </a:moveTo>
                    <a:cubicBezTo>
                      <a:pt x="59" y="36"/>
                      <a:pt x="36" y="60"/>
                      <a:pt x="36" y="90"/>
                    </a:cubicBezTo>
                    <a:cubicBezTo>
                      <a:pt x="36" y="119"/>
                      <a:pt x="59" y="143"/>
                      <a:pt x="89" y="143"/>
                    </a:cubicBezTo>
                    <a:cubicBezTo>
                      <a:pt x="118" y="143"/>
                      <a:pt x="142" y="119"/>
                      <a:pt x="142" y="90"/>
                    </a:cubicBezTo>
                    <a:cubicBezTo>
                      <a:pt x="142" y="60"/>
                      <a:pt x="118" y="36"/>
                      <a:pt x="89" y="36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42" name="Freeform 63">
                <a:extLst>
                  <a:ext uri="{FF2B5EF4-FFF2-40B4-BE49-F238E27FC236}">
                    <a16:creationId xmlns:a16="http://schemas.microsoft.com/office/drawing/2014/main" id="{70CAACD4-251C-4BC4-B5E8-41FCC92C37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78550" y="2797175"/>
                <a:ext cx="319087" cy="196850"/>
              </a:xfrm>
              <a:custGeom>
                <a:avLst/>
                <a:gdLst>
                  <a:gd name="T0" fmla="*/ 190 w 381"/>
                  <a:gd name="T1" fmla="*/ 235 h 235"/>
                  <a:gd name="T2" fmla="*/ 5 w 381"/>
                  <a:gd name="T3" fmla="*/ 128 h 235"/>
                  <a:gd name="T4" fmla="*/ 5 w 381"/>
                  <a:gd name="T5" fmla="*/ 106 h 235"/>
                  <a:gd name="T6" fmla="*/ 190 w 381"/>
                  <a:gd name="T7" fmla="*/ 0 h 235"/>
                  <a:gd name="T8" fmla="*/ 376 w 381"/>
                  <a:gd name="T9" fmla="*/ 106 h 235"/>
                  <a:gd name="T10" fmla="*/ 376 w 381"/>
                  <a:gd name="T11" fmla="*/ 128 h 235"/>
                  <a:gd name="T12" fmla="*/ 190 w 381"/>
                  <a:gd name="T13" fmla="*/ 235 h 235"/>
                  <a:gd name="T14" fmla="*/ 43 w 381"/>
                  <a:gd name="T15" fmla="*/ 117 h 235"/>
                  <a:gd name="T16" fmla="*/ 190 w 381"/>
                  <a:gd name="T17" fmla="*/ 199 h 235"/>
                  <a:gd name="T18" fmla="*/ 338 w 381"/>
                  <a:gd name="T19" fmla="*/ 117 h 235"/>
                  <a:gd name="T20" fmla="*/ 190 w 381"/>
                  <a:gd name="T21" fmla="*/ 36 h 235"/>
                  <a:gd name="T22" fmla="*/ 43 w 381"/>
                  <a:gd name="T23" fmla="*/ 117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1" h="235">
                    <a:moveTo>
                      <a:pt x="190" y="235"/>
                    </a:moveTo>
                    <a:cubicBezTo>
                      <a:pt x="88" y="235"/>
                      <a:pt x="8" y="133"/>
                      <a:pt x="5" y="128"/>
                    </a:cubicBezTo>
                    <a:cubicBezTo>
                      <a:pt x="0" y="122"/>
                      <a:pt x="0" y="113"/>
                      <a:pt x="5" y="106"/>
                    </a:cubicBezTo>
                    <a:cubicBezTo>
                      <a:pt x="8" y="102"/>
                      <a:pt x="88" y="0"/>
                      <a:pt x="190" y="0"/>
                    </a:cubicBezTo>
                    <a:cubicBezTo>
                      <a:pt x="293" y="0"/>
                      <a:pt x="372" y="102"/>
                      <a:pt x="376" y="106"/>
                    </a:cubicBezTo>
                    <a:cubicBezTo>
                      <a:pt x="381" y="113"/>
                      <a:pt x="381" y="122"/>
                      <a:pt x="376" y="128"/>
                    </a:cubicBezTo>
                    <a:cubicBezTo>
                      <a:pt x="372" y="133"/>
                      <a:pt x="293" y="235"/>
                      <a:pt x="190" y="235"/>
                    </a:cubicBezTo>
                    <a:close/>
                    <a:moveTo>
                      <a:pt x="43" y="117"/>
                    </a:moveTo>
                    <a:cubicBezTo>
                      <a:pt x="65" y="142"/>
                      <a:pt x="124" y="199"/>
                      <a:pt x="190" y="199"/>
                    </a:cubicBezTo>
                    <a:cubicBezTo>
                      <a:pt x="257" y="199"/>
                      <a:pt x="316" y="142"/>
                      <a:pt x="338" y="117"/>
                    </a:cubicBezTo>
                    <a:cubicBezTo>
                      <a:pt x="316" y="93"/>
                      <a:pt x="257" y="36"/>
                      <a:pt x="190" y="36"/>
                    </a:cubicBezTo>
                    <a:cubicBezTo>
                      <a:pt x="124" y="36"/>
                      <a:pt x="65" y="93"/>
                      <a:pt x="43" y="117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9DEBD82-9E0B-4775-A4BD-1BE967BE7D2E}"/>
              </a:ext>
            </a:extLst>
          </p:cNvPr>
          <p:cNvGrpSpPr/>
          <p:nvPr/>
        </p:nvGrpSpPr>
        <p:grpSpPr>
          <a:xfrm>
            <a:off x="8839736" y="3138332"/>
            <a:ext cx="1901978" cy="1103047"/>
            <a:chOff x="9630648" y="2632075"/>
            <a:chExt cx="1901978" cy="1103047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E725C20E-1775-490F-A7CF-A6C8DD0FBE2A}"/>
                </a:ext>
              </a:extLst>
            </p:cNvPr>
            <p:cNvSpPr/>
            <p:nvPr/>
          </p:nvSpPr>
          <p:spPr>
            <a:xfrm>
              <a:off x="9630648" y="3211902"/>
              <a:ext cx="190197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Calibration Due date reminder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53A96A7A-8D02-403E-A262-5178D950ACD8}"/>
                </a:ext>
              </a:extLst>
            </p:cNvPr>
            <p:cNvGrpSpPr/>
            <p:nvPr/>
          </p:nvGrpSpPr>
          <p:grpSpPr>
            <a:xfrm>
              <a:off x="10195099" y="2632075"/>
              <a:ext cx="725487" cy="523875"/>
              <a:chOff x="7135813" y="2632075"/>
              <a:chExt cx="725487" cy="523875"/>
            </a:xfrm>
          </p:grpSpPr>
          <p:sp>
            <p:nvSpPr>
              <p:cNvPr id="46" name="Freeform 58">
                <a:extLst>
                  <a:ext uri="{FF2B5EF4-FFF2-40B4-BE49-F238E27FC236}">
                    <a16:creationId xmlns:a16="http://schemas.microsoft.com/office/drawing/2014/main" id="{6733F46E-329F-418C-A968-4722DD2742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54925" y="2632075"/>
                <a:ext cx="127000" cy="127000"/>
              </a:xfrm>
              <a:custGeom>
                <a:avLst/>
                <a:gdLst>
                  <a:gd name="T0" fmla="*/ 92 w 152"/>
                  <a:gd name="T1" fmla="*/ 153 h 153"/>
                  <a:gd name="T2" fmla="*/ 86 w 152"/>
                  <a:gd name="T3" fmla="*/ 152 h 153"/>
                  <a:gd name="T4" fmla="*/ 75 w 152"/>
                  <a:gd name="T5" fmla="*/ 129 h 153"/>
                  <a:gd name="T6" fmla="*/ 108 w 152"/>
                  <a:gd name="T7" fmla="*/ 36 h 153"/>
                  <a:gd name="T8" fmla="*/ 18 w 152"/>
                  <a:gd name="T9" fmla="*/ 37 h 153"/>
                  <a:gd name="T10" fmla="*/ 18 w 152"/>
                  <a:gd name="T11" fmla="*/ 37 h 153"/>
                  <a:gd name="T12" fmla="*/ 0 w 152"/>
                  <a:gd name="T13" fmla="*/ 19 h 153"/>
                  <a:gd name="T14" fmla="*/ 18 w 152"/>
                  <a:gd name="T15" fmla="*/ 1 h 153"/>
                  <a:gd name="T16" fmla="*/ 133 w 152"/>
                  <a:gd name="T17" fmla="*/ 0 h 153"/>
                  <a:gd name="T18" fmla="*/ 133 w 152"/>
                  <a:gd name="T19" fmla="*/ 0 h 153"/>
                  <a:gd name="T20" fmla="*/ 148 w 152"/>
                  <a:gd name="T21" fmla="*/ 7 h 153"/>
                  <a:gd name="T22" fmla="*/ 150 w 152"/>
                  <a:gd name="T23" fmla="*/ 24 h 153"/>
                  <a:gd name="T24" fmla="*/ 109 w 152"/>
                  <a:gd name="T25" fmla="*/ 141 h 153"/>
                  <a:gd name="T26" fmla="*/ 92 w 152"/>
                  <a:gd name="T27" fmla="*/ 153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2" h="153">
                    <a:moveTo>
                      <a:pt x="92" y="153"/>
                    </a:moveTo>
                    <a:cubicBezTo>
                      <a:pt x="90" y="153"/>
                      <a:pt x="88" y="153"/>
                      <a:pt x="86" y="152"/>
                    </a:cubicBezTo>
                    <a:cubicBezTo>
                      <a:pt x="76" y="149"/>
                      <a:pt x="71" y="138"/>
                      <a:pt x="75" y="129"/>
                    </a:cubicBezTo>
                    <a:cubicBezTo>
                      <a:pt x="108" y="36"/>
                      <a:pt x="108" y="36"/>
                      <a:pt x="108" y="36"/>
                    </a:cubicBezTo>
                    <a:cubicBezTo>
                      <a:pt x="18" y="37"/>
                      <a:pt x="18" y="37"/>
                      <a:pt x="18" y="37"/>
                    </a:cubicBezTo>
                    <a:cubicBezTo>
                      <a:pt x="18" y="37"/>
                      <a:pt x="18" y="37"/>
                      <a:pt x="18" y="37"/>
                    </a:cubicBezTo>
                    <a:cubicBezTo>
                      <a:pt x="8" y="37"/>
                      <a:pt x="0" y="29"/>
                      <a:pt x="0" y="19"/>
                    </a:cubicBezTo>
                    <a:cubicBezTo>
                      <a:pt x="0" y="9"/>
                      <a:pt x="8" y="1"/>
                      <a:pt x="18" y="1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39" y="0"/>
                      <a:pt x="145" y="3"/>
                      <a:pt x="148" y="7"/>
                    </a:cubicBezTo>
                    <a:cubicBezTo>
                      <a:pt x="152" y="12"/>
                      <a:pt x="152" y="18"/>
                      <a:pt x="150" y="24"/>
                    </a:cubicBezTo>
                    <a:cubicBezTo>
                      <a:pt x="109" y="141"/>
                      <a:pt x="109" y="141"/>
                      <a:pt x="109" y="141"/>
                    </a:cubicBezTo>
                    <a:cubicBezTo>
                      <a:pt x="106" y="148"/>
                      <a:pt x="99" y="153"/>
                      <a:pt x="92" y="153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47" name="Freeform 64">
                <a:extLst>
                  <a:ext uri="{FF2B5EF4-FFF2-40B4-BE49-F238E27FC236}">
                    <a16:creationId xmlns:a16="http://schemas.microsoft.com/office/drawing/2014/main" id="{774CD31D-44EE-42A4-89FB-5D7F046B89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5813" y="3125788"/>
                <a:ext cx="725487" cy="30162"/>
              </a:xfrm>
              <a:custGeom>
                <a:avLst/>
                <a:gdLst>
                  <a:gd name="T0" fmla="*/ 851 w 869"/>
                  <a:gd name="T1" fmla="*/ 36 h 36"/>
                  <a:gd name="T2" fmla="*/ 18 w 869"/>
                  <a:gd name="T3" fmla="*/ 36 h 36"/>
                  <a:gd name="T4" fmla="*/ 0 w 869"/>
                  <a:gd name="T5" fmla="*/ 18 h 36"/>
                  <a:gd name="T6" fmla="*/ 18 w 869"/>
                  <a:gd name="T7" fmla="*/ 0 h 36"/>
                  <a:gd name="T8" fmla="*/ 851 w 869"/>
                  <a:gd name="T9" fmla="*/ 0 h 36"/>
                  <a:gd name="T10" fmla="*/ 869 w 869"/>
                  <a:gd name="T11" fmla="*/ 18 h 36"/>
                  <a:gd name="T12" fmla="*/ 851 w 86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69" h="36">
                    <a:moveTo>
                      <a:pt x="851" y="36"/>
                    </a:moveTo>
                    <a:cubicBezTo>
                      <a:pt x="18" y="36"/>
                      <a:pt x="18" y="36"/>
                      <a:pt x="18" y="36"/>
                    </a:cubicBezTo>
                    <a:cubicBezTo>
                      <a:pt x="8" y="36"/>
                      <a:pt x="0" y="2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851" y="0"/>
                      <a:pt x="851" y="0"/>
                      <a:pt x="851" y="0"/>
                    </a:cubicBezTo>
                    <a:cubicBezTo>
                      <a:pt x="861" y="0"/>
                      <a:pt x="869" y="8"/>
                      <a:pt x="869" y="18"/>
                    </a:cubicBezTo>
                    <a:cubicBezTo>
                      <a:pt x="869" y="28"/>
                      <a:pt x="861" y="36"/>
                      <a:pt x="851" y="36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48" name="Freeform 65">
                <a:extLst>
                  <a:ext uri="{FF2B5EF4-FFF2-40B4-BE49-F238E27FC236}">
                    <a16:creationId xmlns:a16="http://schemas.microsoft.com/office/drawing/2014/main" id="{C2B9FE5B-9AA4-4A29-A27F-4004BFFC08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4238" y="2995613"/>
                <a:ext cx="30162" cy="160337"/>
              </a:xfrm>
              <a:custGeom>
                <a:avLst/>
                <a:gdLst>
                  <a:gd name="T0" fmla="*/ 18 w 36"/>
                  <a:gd name="T1" fmla="*/ 192 h 192"/>
                  <a:gd name="T2" fmla="*/ 0 w 36"/>
                  <a:gd name="T3" fmla="*/ 174 h 192"/>
                  <a:gd name="T4" fmla="*/ 0 w 36"/>
                  <a:gd name="T5" fmla="*/ 18 h 192"/>
                  <a:gd name="T6" fmla="*/ 18 w 36"/>
                  <a:gd name="T7" fmla="*/ 0 h 192"/>
                  <a:gd name="T8" fmla="*/ 36 w 36"/>
                  <a:gd name="T9" fmla="*/ 18 h 192"/>
                  <a:gd name="T10" fmla="*/ 36 w 36"/>
                  <a:gd name="T11" fmla="*/ 174 h 192"/>
                  <a:gd name="T12" fmla="*/ 18 w 36"/>
                  <a:gd name="T13" fmla="*/ 19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192">
                    <a:moveTo>
                      <a:pt x="18" y="192"/>
                    </a:moveTo>
                    <a:cubicBezTo>
                      <a:pt x="8" y="192"/>
                      <a:pt x="0" y="184"/>
                      <a:pt x="0" y="17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28" y="0"/>
                      <a:pt x="36" y="8"/>
                      <a:pt x="36" y="18"/>
                    </a:cubicBezTo>
                    <a:cubicBezTo>
                      <a:pt x="36" y="174"/>
                      <a:pt x="36" y="174"/>
                      <a:pt x="36" y="174"/>
                    </a:cubicBezTo>
                    <a:cubicBezTo>
                      <a:pt x="36" y="184"/>
                      <a:pt x="28" y="192"/>
                      <a:pt x="18" y="192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49" name="Freeform 66">
                <a:extLst>
                  <a:ext uri="{FF2B5EF4-FFF2-40B4-BE49-F238E27FC236}">
                    <a16:creationId xmlns:a16="http://schemas.microsoft.com/office/drawing/2014/main" id="{3B4581E7-6156-4E2C-AB9D-38AD5377D2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8063" y="2862263"/>
                <a:ext cx="30162" cy="293687"/>
              </a:xfrm>
              <a:custGeom>
                <a:avLst/>
                <a:gdLst>
                  <a:gd name="T0" fmla="*/ 18 w 36"/>
                  <a:gd name="T1" fmla="*/ 352 h 352"/>
                  <a:gd name="T2" fmla="*/ 0 w 36"/>
                  <a:gd name="T3" fmla="*/ 334 h 352"/>
                  <a:gd name="T4" fmla="*/ 0 w 36"/>
                  <a:gd name="T5" fmla="*/ 18 h 352"/>
                  <a:gd name="T6" fmla="*/ 18 w 36"/>
                  <a:gd name="T7" fmla="*/ 0 h 352"/>
                  <a:gd name="T8" fmla="*/ 36 w 36"/>
                  <a:gd name="T9" fmla="*/ 18 h 352"/>
                  <a:gd name="T10" fmla="*/ 36 w 36"/>
                  <a:gd name="T11" fmla="*/ 334 h 352"/>
                  <a:gd name="T12" fmla="*/ 18 w 3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352">
                    <a:moveTo>
                      <a:pt x="18" y="352"/>
                    </a:moveTo>
                    <a:cubicBezTo>
                      <a:pt x="8" y="352"/>
                      <a:pt x="0" y="344"/>
                      <a:pt x="0" y="33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28" y="0"/>
                      <a:pt x="36" y="8"/>
                      <a:pt x="36" y="18"/>
                    </a:cubicBezTo>
                    <a:cubicBezTo>
                      <a:pt x="36" y="334"/>
                      <a:pt x="36" y="334"/>
                      <a:pt x="36" y="334"/>
                    </a:cubicBezTo>
                    <a:cubicBezTo>
                      <a:pt x="36" y="344"/>
                      <a:pt x="28" y="352"/>
                      <a:pt x="18" y="352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50" name="Freeform 67">
                <a:extLst>
                  <a:ext uri="{FF2B5EF4-FFF2-40B4-BE49-F238E27FC236}">
                    <a16:creationId xmlns:a16="http://schemas.microsoft.com/office/drawing/2014/main" id="{8BBC352F-A87D-4A6E-A1DE-A217EF4BB7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3475" y="2982913"/>
                <a:ext cx="30162" cy="173037"/>
              </a:xfrm>
              <a:custGeom>
                <a:avLst/>
                <a:gdLst>
                  <a:gd name="T0" fmla="*/ 18 w 36"/>
                  <a:gd name="T1" fmla="*/ 208 h 208"/>
                  <a:gd name="T2" fmla="*/ 0 w 36"/>
                  <a:gd name="T3" fmla="*/ 190 h 208"/>
                  <a:gd name="T4" fmla="*/ 0 w 36"/>
                  <a:gd name="T5" fmla="*/ 18 h 208"/>
                  <a:gd name="T6" fmla="*/ 18 w 36"/>
                  <a:gd name="T7" fmla="*/ 0 h 208"/>
                  <a:gd name="T8" fmla="*/ 36 w 36"/>
                  <a:gd name="T9" fmla="*/ 18 h 208"/>
                  <a:gd name="T10" fmla="*/ 36 w 36"/>
                  <a:gd name="T11" fmla="*/ 190 h 208"/>
                  <a:gd name="T12" fmla="*/ 18 w 36"/>
                  <a:gd name="T13" fmla="*/ 208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208">
                    <a:moveTo>
                      <a:pt x="18" y="208"/>
                    </a:moveTo>
                    <a:cubicBezTo>
                      <a:pt x="8" y="208"/>
                      <a:pt x="0" y="200"/>
                      <a:pt x="0" y="19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28" y="0"/>
                      <a:pt x="36" y="8"/>
                      <a:pt x="36" y="18"/>
                    </a:cubicBezTo>
                    <a:cubicBezTo>
                      <a:pt x="36" y="190"/>
                      <a:pt x="36" y="190"/>
                      <a:pt x="36" y="190"/>
                    </a:cubicBezTo>
                    <a:cubicBezTo>
                      <a:pt x="36" y="200"/>
                      <a:pt x="28" y="208"/>
                      <a:pt x="18" y="208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51" name="Freeform 68">
                <a:extLst>
                  <a:ext uri="{FF2B5EF4-FFF2-40B4-BE49-F238E27FC236}">
                    <a16:creationId xmlns:a16="http://schemas.microsoft.com/office/drawing/2014/main" id="{ECC8131D-719C-4220-A423-71CC431484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07300" y="2895600"/>
                <a:ext cx="30162" cy="260350"/>
              </a:xfrm>
              <a:custGeom>
                <a:avLst/>
                <a:gdLst>
                  <a:gd name="T0" fmla="*/ 18 w 36"/>
                  <a:gd name="T1" fmla="*/ 312 h 312"/>
                  <a:gd name="T2" fmla="*/ 0 w 36"/>
                  <a:gd name="T3" fmla="*/ 294 h 312"/>
                  <a:gd name="T4" fmla="*/ 0 w 36"/>
                  <a:gd name="T5" fmla="*/ 18 h 312"/>
                  <a:gd name="T6" fmla="*/ 18 w 36"/>
                  <a:gd name="T7" fmla="*/ 0 h 312"/>
                  <a:gd name="T8" fmla="*/ 36 w 36"/>
                  <a:gd name="T9" fmla="*/ 18 h 312"/>
                  <a:gd name="T10" fmla="*/ 36 w 36"/>
                  <a:gd name="T11" fmla="*/ 294 h 312"/>
                  <a:gd name="T12" fmla="*/ 18 w 36"/>
                  <a:gd name="T13" fmla="*/ 312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312">
                    <a:moveTo>
                      <a:pt x="18" y="312"/>
                    </a:moveTo>
                    <a:cubicBezTo>
                      <a:pt x="8" y="312"/>
                      <a:pt x="0" y="304"/>
                      <a:pt x="0" y="29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28" y="0"/>
                      <a:pt x="36" y="8"/>
                      <a:pt x="36" y="18"/>
                    </a:cubicBezTo>
                    <a:cubicBezTo>
                      <a:pt x="36" y="294"/>
                      <a:pt x="36" y="294"/>
                      <a:pt x="36" y="294"/>
                    </a:cubicBezTo>
                    <a:cubicBezTo>
                      <a:pt x="36" y="304"/>
                      <a:pt x="28" y="312"/>
                      <a:pt x="18" y="312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52" name="Freeform 69">
                <a:extLst>
                  <a:ext uri="{FF2B5EF4-FFF2-40B4-BE49-F238E27FC236}">
                    <a16:creationId xmlns:a16="http://schemas.microsoft.com/office/drawing/2014/main" id="{7BD30849-6F89-4FC5-B02E-2139B5AE48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32713" y="2949575"/>
                <a:ext cx="30162" cy="206375"/>
              </a:xfrm>
              <a:custGeom>
                <a:avLst/>
                <a:gdLst>
                  <a:gd name="T0" fmla="*/ 18 w 36"/>
                  <a:gd name="T1" fmla="*/ 248 h 248"/>
                  <a:gd name="T2" fmla="*/ 0 w 36"/>
                  <a:gd name="T3" fmla="*/ 230 h 248"/>
                  <a:gd name="T4" fmla="*/ 0 w 36"/>
                  <a:gd name="T5" fmla="*/ 18 h 248"/>
                  <a:gd name="T6" fmla="*/ 18 w 36"/>
                  <a:gd name="T7" fmla="*/ 0 h 248"/>
                  <a:gd name="T8" fmla="*/ 36 w 36"/>
                  <a:gd name="T9" fmla="*/ 18 h 248"/>
                  <a:gd name="T10" fmla="*/ 36 w 36"/>
                  <a:gd name="T11" fmla="*/ 230 h 248"/>
                  <a:gd name="T12" fmla="*/ 18 w 36"/>
                  <a:gd name="T13" fmla="*/ 248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248">
                    <a:moveTo>
                      <a:pt x="18" y="248"/>
                    </a:moveTo>
                    <a:cubicBezTo>
                      <a:pt x="8" y="248"/>
                      <a:pt x="0" y="240"/>
                      <a:pt x="0" y="23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28" y="0"/>
                      <a:pt x="36" y="8"/>
                      <a:pt x="36" y="18"/>
                    </a:cubicBezTo>
                    <a:cubicBezTo>
                      <a:pt x="36" y="230"/>
                      <a:pt x="36" y="230"/>
                      <a:pt x="36" y="230"/>
                    </a:cubicBezTo>
                    <a:cubicBezTo>
                      <a:pt x="36" y="240"/>
                      <a:pt x="28" y="248"/>
                      <a:pt x="18" y="248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53" name="Freeform 70">
                <a:extLst>
                  <a:ext uri="{FF2B5EF4-FFF2-40B4-BE49-F238E27FC236}">
                    <a16:creationId xmlns:a16="http://schemas.microsoft.com/office/drawing/2014/main" id="{26E8E999-05EE-4372-BB73-FEDD0ED15A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10425" y="2633663"/>
                <a:ext cx="566737" cy="220662"/>
              </a:xfrm>
              <a:custGeom>
                <a:avLst/>
                <a:gdLst>
                  <a:gd name="T0" fmla="*/ 20 w 678"/>
                  <a:gd name="T1" fmla="*/ 264 h 264"/>
                  <a:gd name="T2" fmla="*/ 6 w 678"/>
                  <a:gd name="T3" fmla="*/ 258 h 264"/>
                  <a:gd name="T4" fmla="*/ 7 w 678"/>
                  <a:gd name="T5" fmla="*/ 233 h 264"/>
                  <a:gd name="T6" fmla="*/ 184 w 678"/>
                  <a:gd name="T7" fmla="*/ 69 h 264"/>
                  <a:gd name="T8" fmla="*/ 207 w 678"/>
                  <a:gd name="T9" fmla="*/ 68 h 264"/>
                  <a:gd name="T10" fmla="*/ 377 w 678"/>
                  <a:gd name="T11" fmla="*/ 204 h 264"/>
                  <a:gd name="T12" fmla="*/ 647 w 678"/>
                  <a:gd name="T13" fmla="*/ 6 h 264"/>
                  <a:gd name="T14" fmla="*/ 672 w 678"/>
                  <a:gd name="T15" fmla="*/ 10 h 264"/>
                  <a:gd name="T16" fmla="*/ 668 w 678"/>
                  <a:gd name="T17" fmla="*/ 35 h 264"/>
                  <a:gd name="T18" fmla="*/ 387 w 678"/>
                  <a:gd name="T19" fmla="*/ 241 h 264"/>
                  <a:gd name="T20" fmla="*/ 365 w 678"/>
                  <a:gd name="T21" fmla="*/ 240 h 264"/>
                  <a:gd name="T22" fmla="*/ 197 w 678"/>
                  <a:gd name="T23" fmla="*/ 106 h 264"/>
                  <a:gd name="T24" fmla="*/ 32 w 678"/>
                  <a:gd name="T25" fmla="*/ 259 h 264"/>
                  <a:gd name="T26" fmla="*/ 20 w 678"/>
                  <a:gd name="T27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78" h="264">
                    <a:moveTo>
                      <a:pt x="20" y="264"/>
                    </a:moveTo>
                    <a:cubicBezTo>
                      <a:pt x="15" y="264"/>
                      <a:pt x="10" y="262"/>
                      <a:pt x="6" y="258"/>
                    </a:cubicBezTo>
                    <a:cubicBezTo>
                      <a:pt x="0" y="251"/>
                      <a:pt x="0" y="239"/>
                      <a:pt x="7" y="233"/>
                    </a:cubicBezTo>
                    <a:cubicBezTo>
                      <a:pt x="184" y="69"/>
                      <a:pt x="184" y="69"/>
                      <a:pt x="184" y="69"/>
                    </a:cubicBezTo>
                    <a:cubicBezTo>
                      <a:pt x="190" y="63"/>
                      <a:pt x="200" y="63"/>
                      <a:pt x="207" y="68"/>
                    </a:cubicBezTo>
                    <a:cubicBezTo>
                      <a:pt x="377" y="204"/>
                      <a:pt x="377" y="204"/>
                      <a:pt x="377" y="204"/>
                    </a:cubicBezTo>
                    <a:cubicBezTo>
                      <a:pt x="647" y="6"/>
                      <a:pt x="647" y="6"/>
                      <a:pt x="647" y="6"/>
                    </a:cubicBezTo>
                    <a:cubicBezTo>
                      <a:pt x="655" y="0"/>
                      <a:pt x="666" y="1"/>
                      <a:pt x="672" y="10"/>
                    </a:cubicBezTo>
                    <a:cubicBezTo>
                      <a:pt x="678" y="18"/>
                      <a:pt x="676" y="29"/>
                      <a:pt x="668" y="35"/>
                    </a:cubicBezTo>
                    <a:cubicBezTo>
                      <a:pt x="387" y="241"/>
                      <a:pt x="387" y="241"/>
                      <a:pt x="387" y="241"/>
                    </a:cubicBezTo>
                    <a:cubicBezTo>
                      <a:pt x="380" y="246"/>
                      <a:pt x="371" y="245"/>
                      <a:pt x="365" y="240"/>
                    </a:cubicBezTo>
                    <a:cubicBezTo>
                      <a:pt x="197" y="106"/>
                      <a:pt x="197" y="106"/>
                      <a:pt x="197" y="106"/>
                    </a:cubicBezTo>
                    <a:cubicBezTo>
                      <a:pt x="32" y="259"/>
                      <a:pt x="32" y="259"/>
                      <a:pt x="32" y="259"/>
                    </a:cubicBezTo>
                    <a:cubicBezTo>
                      <a:pt x="28" y="262"/>
                      <a:pt x="24" y="264"/>
                      <a:pt x="20" y="264"/>
                    </a:cubicBezTo>
                    <a:close/>
                  </a:path>
                </a:pathLst>
              </a:custGeom>
              <a:solidFill>
                <a:srgbClr val="E900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</p:grp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B92B0F8B-6F9B-4F9F-BB78-7D23654E47B6}"/>
              </a:ext>
            </a:extLst>
          </p:cNvPr>
          <p:cNvGrpSpPr/>
          <p:nvPr/>
        </p:nvGrpSpPr>
        <p:grpSpPr>
          <a:xfrm>
            <a:off x="6952094" y="4692845"/>
            <a:ext cx="1901978" cy="1260980"/>
            <a:chOff x="6920288" y="942999"/>
            <a:chExt cx="1901978" cy="1260980"/>
          </a:xfrm>
          <a:solidFill>
            <a:schemeClr val="accent1"/>
          </a:solidFill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BC232824-0D16-4C6C-8A51-51ACA10793E7}"/>
                </a:ext>
              </a:extLst>
            </p:cNvPr>
            <p:cNvSpPr/>
            <p:nvPr/>
          </p:nvSpPr>
          <p:spPr>
            <a:xfrm>
              <a:off x="6920288" y="1680759"/>
              <a:ext cx="1901978" cy="52322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Community Hot Topics</a:t>
              </a: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17A853CF-C51B-4768-BE59-91AEB3491017}"/>
                </a:ext>
              </a:extLst>
            </p:cNvPr>
            <p:cNvGrpSpPr/>
            <p:nvPr/>
          </p:nvGrpSpPr>
          <p:grpSpPr>
            <a:xfrm>
              <a:off x="7367822" y="942999"/>
              <a:ext cx="908068" cy="768494"/>
              <a:chOff x="3522662" y="1252539"/>
              <a:chExt cx="5143505" cy="4352924"/>
            </a:xfrm>
            <a:grpFill/>
          </p:grpSpPr>
          <p:sp>
            <p:nvSpPr>
              <p:cNvPr id="57" name="Freeform 22">
                <a:extLst>
                  <a:ext uri="{FF2B5EF4-FFF2-40B4-BE49-F238E27FC236}">
                    <a16:creationId xmlns:a16="http://schemas.microsoft.com/office/drawing/2014/main" id="{16FE183A-D029-4B2B-AB5C-EF6C02DC90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42100" y="2552700"/>
                <a:ext cx="1141416" cy="284163"/>
              </a:xfrm>
              <a:custGeom>
                <a:avLst/>
                <a:gdLst>
                  <a:gd name="T0" fmla="*/ 167 w 269"/>
                  <a:gd name="T1" fmla="*/ 33 h 67"/>
                  <a:gd name="T2" fmla="*/ 133 w 269"/>
                  <a:gd name="T3" fmla="*/ 1 h 67"/>
                  <a:gd name="T4" fmla="*/ 102 w 269"/>
                  <a:gd name="T5" fmla="*/ 34 h 67"/>
                  <a:gd name="T6" fmla="*/ 135 w 269"/>
                  <a:gd name="T7" fmla="*/ 66 h 67"/>
                  <a:gd name="T8" fmla="*/ 167 w 269"/>
                  <a:gd name="T9" fmla="*/ 33 h 67"/>
                  <a:gd name="T10" fmla="*/ 65 w 269"/>
                  <a:gd name="T11" fmla="*/ 34 h 67"/>
                  <a:gd name="T12" fmla="*/ 32 w 269"/>
                  <a:gd name="T13" fmla="*/ 1 h 67"/>
                  <a:gd name="T14" fmla="*/ 0 w 269"/>
                  <a:gd name="T15" fmla="*/ 32 h 67"/>
                  <a:gd name="T16" fmla="*/ 32 w 269"/>
                  <a:gd name="T17" fmla="*/ 66 h 67"/>
                  <a:gd name="T18" fmla="*/ 65 w 269"/>
                  <a:gd name="T19" fmla="*/ 34 h 67"/>
                  <a:gd name="T20" fmla="*/ 269 w 269"/>
                  <a:gd name="T21" fmla="*/ 34 h 67"/>
                  <a:gd name="T22" fmla="*/ 236 w 269"/>
                  <a:gd name="T23" fmla="*/ 1 h 67"/>
                  <a:gd name="T24" fmla="*/ 204 w 269"/>
                  <a:gd name="T25" fmla="*/ 33 h 67"/>
                  <a:gd name="T26" fmla="*/ 236 w 269"/>
                  <a:gd name="T27" fmla="*/ 66 h 67"/>
                  <a:gd name="T28" fmla="*/ 269 w 269"/>
                  <a:gd name="T29" fmla="*/ 34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9" h="67">
                    <a:moveTo>
                      <a:pt x="167" y="33"/>
                    </a:moveTo>
                    <a:cubicBezTo>
                      <a:pt x="167" y="14"/>
                      <a:pt x="151" y="0"/>
                      <a:pt x="133" y="1"/>
                    </a:cubicBezTo>
                    <a:cubicBezTo>
                      <a:pt x="116" y="2"/>
                      <a:pt x="102" y="16"/>
                      <a:pt x="102" y="34"/>
                    </a:cubicBezTo>
                    <a:cubicBezTo>
                      <a:pt x="102" y="51"/>
                      <a:pt x="117" y="67"/>
                      <a:pt x="135" y="66"/>
                    </a:cubicBezTo>
                    <a:cubicBezTo>
                      <a:pt x="152" y="66"/>
                      <a:pt x="167" y="50"/>
                      <a:pt x="167" y="33"/>
                    </a:cubicBezTo>
                    <a:close/>
                    <a:moveTo>
                      <a:pt x="65" y="34"/>
                    </a:moveTo>
                    <a:cubicBezTo>
                      <a:pt x="65" y="15"/>
                      <a:pt x="51" y="1"/>
                      <a:pt x="32" y="1"/>
                    </a:cubicBezTo>
                    <a:cubicBezTo>
                      <a:pt x="15" y="1"/>
                      <a:pt x="1" y="15"/>
                      <a:pt x="0" y="32"/>
                    </a:cubicBezTo>
                    <a:cubicBezTo>
                      <a:pt x="0" y="51"/>
                      <a:pt x="13" y="66"/>
                      <a:pt x="32" y="66"/>
                    </a:cubicBezTo>
                    <a:cubicBezTo>
                      <a:pt x="50" y="67"/>
                      <a:pt x="65" y="52"/>
                      <a:pt x="65" y="34"/>
                    </a:cubicBezTo>
                    <a:close/>
                    <a:moveTo>
                      <a:pt x="269" y="34"/>
                    </a:moveTo>
                    <a:cubicBezTo>
                      <a:pt x="269" y="16"/>
                      <a:pt x="254" y="1"/>
                      <a:pt x="236" y="1"/>
                    </a:cubicBezTo>
                    <a:cubicBezTo>
                      <a:pt x="218" y="1"/>
                      <a:pt x="205" y="15"/>
                      <a:pt x="204" y="33"/>
                    </a:cubicBezTo>
                    <a:cubicBezTo>
                      <a:pt x="204" y="51"/>
                      <a:pt x="218" y="66"/>
                      <a:pt x="236" y="66"/>
                    </a:cubicBezTo>
                    <a:cubicBezTo>
                      <a:pt x="254" y="67"/>
                      <a:pt x="269" y="52"/>
                      <a:pt x="269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58" name="Freeform 23">
                <a:extLst>
                  <a:ext uri="{FF2B5EF4-FFF2-40B4-BE49-F238E27FC236}">
                    <a16:creationId xmlns:a16="http://schemas.microsoft.com/office/drawing/2014/main" id="{837E6F5D-7E73-4853-8A77-925DD1C8AD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5487" y="2552700"/>
                <a:ext cx="274636" cy="284163"/>
              </a:xfrm>
              <a:custGeom>
                <a:avLst/>
                <a:gdLst>
                  <a:gd name="T0" fmla="*/ 65 w 65"/>
                  <a:gd name="T1" fmla="*/ 33 h 67"/>
                  <a:gd name="T2" fmla="*/ 33 w 65"/>
                  <a:gd name="T3" fmla="*/ 66 h 67"/>
                  <a:gd name="T4" fmla="*/ 0 w 65"/>
                  <a:gd name="T5" fmla="*/ 34 h 67"/>
                  <a:gd name="T6" fmla="*/ 31 w 65"/>
                  <a:gd name="T7" fmla="*/ 1 h 67"/>
                  <a:gd name="T8" fmla="*/ 65 w 65"/>
                  <a:gd name="T9" fmla="*/ 33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67">
                    <a:moveTo>
                      <a:pt x="65" y="33"/>
                    </a:moveTo>
                    <a:cubicBezTo>
                      <a:pt x="65" y="50"/>
                      <a:pt x="50" y="66"/>
                      <a:pt x="33" y="66"/>
                    </a:cubicBezTo>
                    <a:cubicBezTo>
                      <a:pt x="15" y="67"/>
                      <a:pt x="0" y="51"/>
                      <a:pt x="0" y="34"/>
                    </a:cubicBezTo>
                    <a:cubicBezTo>
                      <a:pt x="0" y="16"/>
                      <a:pt x="14" y="2"/>
                      <a:pt x="31" y="1"/>
                    </a:cubicBezTo>
                    <a:cubicBezTo>
                      <a:pt x="49" y="0"/>
                      <a:pt x="65" y="14"/>
                      <a:pt x="6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59" name="Freeform 24">
                <a:extLst>
                  <a:ext uri="{FF2B5EF4-FFF2-40B4-BE49-F238E27FC236}">
                    <a16:creationId xmlns:a16="http://schemas.microsoft.com/office/drawing/2014/main" id="{B52618CC-1C0C-4B6B-B589-3275DC70CD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2100" y="2555877"/>
                <a:ext cx="276227" cy="280985"/>
              </a:xfrm>
              <a:custGeom>
                <a:avLst/>
                <a:gdLst>
                  <a:gd name="T0" fmla="*/ 65 w 65"/>
                  <a:gd name="T1" fmla="*/ 33 h 66"/>
                  <a:gd name="T2" fmla="*/ 32 w 65"/>
                  <a:gd name="T3" fmla="*/ 65 h 66"/>
                  <a:gd name="T4" fmla="*/ 0 w 65"/>
                  <a:gd name="T5" fmla="*/ 31 h 66"/>
                  <a:gd name="T6" fmla="*/ 32 w 65"/>
                  <a:gd name="T7" fmla="*/ 0 h 66"/>
                  <a:gd name="T8" fmla="*/ 65 w 65"/>
                  <a:gd name="T9" fmla="*/ 33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66">
                    <a:moveTo>
                      <a:pt x="65" y="33"/>
                    </a:moveTo>
                    <a:cubicBezTo>
                      <a:pt x="65" y="51"/>
                      <a:pt x="50" y="66"/>
                      <a:pt x="32" y="65"/>
                    </a:cubicBezTo>
                    <a:cubicBezTo>
                      <a:pt x="13" y="65"/>
                      <a:pt x="0" y="50"/>
                      <a:pt x="0" y="31"/>
                    </a:cubicBezTo>
                    <a:cubicBezTo>
                      <a:pt x="1" y="14"/>
                      <a:pt x="15" y="0"/>
                      <a:pt x="32" y="0"/>
                    </a:cubicBezTo>
                    <a:cubicBezTo>
                      <a:pt x="51" y="0"/>
                      <a:pt x="65" y="14"/>
                      <a:pt x="6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60" name="Freeform 25">
                <a:extLst>
                  <a:ext uri="{FF2B5EF4-FFF2-40B4-BE49-F238E27FC236}">
                    <a16:creationId xmlns:a16="http://schemas.microsoft.com/office/drawing/2014/main" id="{14F461F4-62E6-4DDD-87A8-C0AEE38966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07288" y="2555877"/>
                <a:ext cx="276227" cy="280985"/>
              </a:xfrm>
              <a:custGeom>
                <a:avLst/>
                <a:gdLst>
                  <a:gd name="T0" fmla="*/ 65 w 65"/>
                  <a:gd name="T1" fmla="*/ 33 h 66"/>
                  <a:gd name="T2" fmla="*/ 32 w 65"/>
                  <a:gd name="T3" fmla="*/ 65 h 66"/>
                  <a:gd name="T4" fmla="*/ 0 w 65"/>
                  <a:gd name="T5" fmla="*/ 32 h 66"/>
                  <a:gd name="T6" fmla="*/ 32 w 65"/>
                  <a:gd name="T7" fmla="*/ 0 h 66"/>
                  <a:gd name="T8" fmla="*/ 65 w 65"/>
                  <a:gd name="T9" fmla="*/ 33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66">
                    <a:moveTo>
                      <a:pt x="65" y="33"/>
                    </a:moveTo>
                    <a:cubicBezTo>
                      <a:pt x="65" y="51"/>
                      <a:pt x="50" y="66"/>
                      <a:pt x="32" y="65"/>
                    </a:cubicBezTo>
                    <a:cubicBezTo>
                      <a:pt x="14" y="65"/>
                      <a:pt x="0" y="50"/>
                      <a:pt x="0" y="32"/>
                    </a:cubicBezTo>
                    <a:cubicBezTo>
                      <a:pt x="1" y="14"/>
                      <a:pt x="14" y="0"/>
                      <a:pt x="32" y="0"/>
                    </a:cubicBezTo>
                    <a:cubicBezTo>
                      <a:pt x="50" y="0"/>
                      <a:pt x="65" y="15"/>
                      <a:pt x="6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61" name="Freeform 26">
                <a:extLst>
                  <a:ext uri="{FF2B5EF4-FFF2-40B4-BE49-F238E27FC236}">
                    <a16:creationId xmlns:a16="http://schemas.microsoft.com/office/drawing/2014/main" id="{91A3AA3B-048B-4F35-B776-5343CAE211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22662" y="2322511"/>
                <a:ext cx="2919417" cy="3282952"/>
              </a:xfrm>
              <a:custGeom>
                <a:avLst/>
                <a:gdLst>
                  <a:gd name="T0" fmla="*/ 43 w 688"/>
                  <a:gd name="T1" fmla="*/ 773 h 773"/>
                  <a:gd name="T2" fmla="*/ 56 w 688"/>
                  <a:gd name="T3" fmla="*/ 736 h 773"/>
                  <a:gd name="T4" fmla="*/ 94 w 688"/>
                  <a:gd name="T5" fmla="*/ 580 h 773"/>
                  <a:gd name="T6" fmla="*/ 0 w 688"/>
                  <a:gd name="T7" fmla="*/ 344 h 773"/>
                  <a:gd name="T8" fmla="*/ 344 w 688"/>
                  <a:gd name="T9" fmla="*/ 0 h 773"/>
                  <a:gd name="T10" fmla="*/ 688 w 688"/>
                  <a:gd name="T11" fmla="*/ 344 h 773"/>
                  <a:gd name="T12" fmla="*/ 344 w 688"/>
                  <a:gd name="T13" fmla="*/ 688 h 773"/>
                  <a:gd name="T14" fmla="*/ 218 w 688"/>
                  <a:gd name="T15" fmla="*/ 665 h 773"/>
                  <a:gd name="T16" fmla="*/ 80 w 688"/>
                  <a:gd name="T17" fmla="*/ 759 h 773"/>
                  <a:gd name="T18" fmla="*/ 43 w 688"/>
                  <a:gd name="T19" fmla="*/ 773 h 773"/>
                  <a:gd name="T20" fmla="*/ 344 w 688"/>
                  <a:gd name="T21" fmla="*/ 36 h 773"/>
                  <a:gd name="T22" fmla="*/ 36 w 688"/>
                  <a:gd name="T23" fmla="*/ 344 h 773"/>
                  <a:gd name="T24" fmla="*/ 125 w 688"/>
                  <a:gd name="T25" fmla="*/ 561 h 773"/>
                  <a:gd name="T26" fmla="*/ 131 w 688"/>
                  <a:gd name="T27" fmla="*/ 567 h 773"/>
                  <a:gd name="T28" fmla="*/ 130 w 688"/>
                  <a:gd name="T29" fmla="*/ 576 h 773"/>
                  <a:gd name="T30" fmla="*/ 104 w 688"/>
                  <a:gd name="T31" fmla="*/ 707 h 773"/>
                  <a:gd name="T32" fmla="*/ 201 w 688"/>
                  <a:gd name="T33" fmla="*/ 631 h 773"/>
                  <a:gd name="T34" fmla="*/ 209 w 688"/>
                  <a:gd name="T35" fmla="*/ 622 h 773"/>
                  <a:gd name="T36" fmla="*/ 221 w 688"/>
                  <a:gd name="T37" fmla="*/ 627 h 773"/>
                  <a:gd name="T38" fmla="*/ 344 w 688"/>
                  <a:gd name="T39" fmla="*/ 652 h 773"/>
                  <a:gd name="T40" fmla="*/ 652 w 688"/>
                  <a:gd name="T41" fmla="*/ 344 h 773"/>
                  <a:gd name="T42" fmla="*/ 344 w 688"/>
                  <a:gd name="T43" fmla="*/ 36 h 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88" h="773">
                    <a:moveTo>
                      <a:pt x="43" y="773"/>
                    </a:moveTo>
                    <a:cubicBezTo>
                      <a:pt x="56" y="736"/>
                      <a:pt x="56" y="736"/>
                      <a:pt x="56" y="736"/>
                    </a:cubicBezTo>
                    <a:cubicBezTo>
                      <a:pt x="75" y="686"/>
                      <a:pt x="87" y="634"/>
                      <a:pt x="94" y="580"/>
                    </a:cubicBezTo>
                    <a:cubicBezTo>
                      <a:pt x="33" y="516"/>
                      <a:pt x="0" y="433"/>
                      <a:pt x="0" y="344"/>
                    </a:cubicBezTo>
                    <a:cubicBezTo>
                      <a:pt x="0" y="154"/>
                      <a:pt x="154" y="0"/>
                      <a:pt x="344" y="0"/>
                    </a:cubicBezTo>
                    <a:cubicBezTo>
                      <a:pt x="534" y="0"/>
                      <a:pt x="688" y="154"/>
                      <a:pt x="688" y="344"/>
                    </a:cubicBezTo>
                    <a:cubicBezTo>
                      <a:pt x="688" y="534"/>
                      <a:pt x="534" y="688"/>
                      <a:pt x="344" y="688"/>
                    </a:cubicBezTo>
                    <a:cubicBezTo>
                      <a:pt x="301" y="688"/>
                      <a:pt x="258" y="680"/>
                      <a:pt x="218" y="665"/>
                    </a:cubicBezTo>
                    <a:cubicBezTo>
                      <a:pt x="153" y="731"/>
                      <a:pt x="83" y="758"/>
                      <a:pt x="80" y="759"/>
                    </a:cubicBezTo>
                    <a:lnTo>
                      <a:pt x="43" y="773"/>
                    </a:lnTo>
                    <a:close/>
                    <a:moveTo>
                      <a:pt x="344" y="36"/>
                    </a:moveTo>
                    <a:cubicBezTo>
                      <a:pt x="174" y="36"/>
                      <a:pt x="36" y="174"/>
                      <a:pt x="36" y="344"/>
                    </a:cubicBezTo>
                    <a:cubicBezTo>
                      <a:pt x="36" y="426"/>
                      <a:pt x="68" y="503"/>
                      <a:pt x="125" y="561"/>
                    </a:cubicBezTo>
                    <a:cubicBezTo>
                      <a:pt x="131" y="567"/>
                      <a:pt x="131" y="567"/>
                      <a:pt x="131" y="567"/>
                    </a:cubicBezTo>
                    <a:cubicBezTo>
                      <a:pt x="130" y="576"/>
                      <a:pt x="130" y="576"/>
                      <a:pt x="130" y="576"/>
                    </a:cubicBezTo>
                    <a:cubicBezTo>
                      <a:pt x="126" y="621"/>
                      <a:pt x="117" y="665"/>
                      <a:pt x="104" y="707"/>
                    </a:cubicBezTo>
                    <a:cubicBezTo>
                      <a:pt x="130" y="692"/>
                      <a:pt x="167" y="667"/>
                      <a:pt x="201" y="631"/>
                    </a:cubicBezTo>
                    <a:cubicBezTo>
                      <a:pt x="209" y="622"/>
                      <a:pt x="209" y="622"/>
                      <a:pt x="209" y="622"/>
                    </a:cubicBezTo>
                    <a:cubicBezTo>
                      <a:pt x="221" y="627"/>
                      <a:pt x="221" y="627"/>
                      <a:pt x="221" y="627"/>
                    </a:cubicBezTo>
                    <a:cubicBezTo>
                      <a:pt x="260" y="644"/>
                      <a:pt x="301" y="652"/>
                      <a:pt x="344" y="652"/>
                    </a:cubicBezTo>
                    <a:cubicBezTo>
                      <a:pt x="514" y="652"/>
                      <a:pt x="652" y="514"/>
                      <a:pt x="652" y="344"/>
                    </a:cubicBezTo>
                    <a:cubicBezTo>
                      <a:pt x="652" y="174"/>
                      <a:pt x="514" y="36"/>
                      <a:pt x="344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62" name="Freeform 27">
                <a:extLst>
                  <a:ext uri="{FF2B5EF4-FFF2-40B4-BE49-F238E27FC236}">
                    <a16:creationId xmlns:a16="http://schemas.microsoft.com/office/drawing/2014/main" id="{D2A6F935-D9A9-4B96-B120-B0888DA2A3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6750" y="1252539"/>
                <a:ext cx="2919417" cy="3282952"/>
              </a:xfrm>
              <a:custGeom>
                <a:avLst/>
                <a:gdLst>
                  <a:gd name="T0" fmla="*/ 645 w 688"/>
                  <a:gd name="T1" fmla="*/ 773 h 773"/>
                  <a:gd name="T2" fmla="*/ 608 w 688"/>
                  <a:gd name="T3" fmla="*/ 759 h 773"/>
                  <a:gd name="T4" fmla="*/ 470 w 688"/>
                  <a:gd name="T5" fmla="*/ 665 h 773"/>
                  <a:gd name="T6" fmla="*/ 344 w 688"/>
                  <a:gd name="T7" fmla="*/ 688 h 773"/>
                  <a:gd name="T8" fmla="*/ 144 w 688"/>
                  <a:gd name="T9" fmla="*/ 624 h 773"/>
                  <a:gd name="T10" fmla="*/ 165 w 688"/>
                  <a:gd name="T11" fmla="*/ 595 h 773"/>
                  <a:gd name="T12" fmla="*/ 344 w 688"/>
                  <a:gd name="T13" fmla="*/ 652 h 773"/>
                  <a:gd name="T14" fmla="*/ 467 w 688"/>
                  <a:gd name="T15" fmla="*/ 627 h 773"/>
                  <a:gd name="T16" fmla="*/ 479 w 688"/>
                  <a:gd name="T17" fmla="*/ 622 h 773"/>
                  <a:gd name="T18" fmla="*/ 487 w 688"/>
                  <a:gd name="T19" fmla="*/ 631 h 773"/>
                  <a:gd name="T20" fmla="*/ 584 w 688"/>
                  <a:gd name="T21" fmla="*/ 707 h 773"/>
                  <a:gd name="T22" fmla="*/ 558 w 688"/>
                  <a:gd name="T23" fmla="*/ 576 h 773"/>
                  <a:gd name="T24" fmla="*/ 557 w 688"/>
                  <a:gd name="T25" fmla="*/ 567 h 773"/>
                  <a:gd name="T26" fmla="*/ 563 w 688"/>
                  <a:gd name="T27" fmla="*/ 561 h 773"/>
                  <a:gd name="T28" fmla="*/ 652 w 688"/>
                  <a:gd name="T29" fmla="*/ 344 h 773"/>
                  <a:gd name="T30" fmla="*/ 344 w 688"/>
                  <a:gd name="T31" fmla="*/ 36 h 773"/>
                  <a:gd name="T32" fmla="*/ 36 w 688"/>
                  <a:gd name="T33" fmla="*/ 330 h 773"/>
                  <a:gd name="T34" fmla="*/ 0 w 688"/>
                  <a:gd name="T35" fmla="*/ 328 h 773"/>
                  <a:gd name="T36" fmla="*/ 344 w 688"/>
                  <a:gd name="T37" fmla="*/ 0 h 773"/>
                  <a:gd name="T38" fmla="*/ 688 w 688"/>
                  <a:gd name="T39" fmla="*/ 344 h 773"/>
                  <a:gd name="T40" fmla="*/ 594 w 688"/>
                  <a:gd name="T41" fmla="*/ 580 h 773"/>
                  <a:gd name="T42" fmla="*/ 632 w 688"/>
                  <a:gd name="T43" fmla="*/ 736 h 773"/>
                  <a:gd name="T44" fmla="*/ 645 w 688"/>
                  <a:gd name="T45" fmla="*/ 773 h 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88" h="773">
                    <a:moveTo>
                      <a:pt x="645" y="773"/>
                    </a:moveTo>
                    <a:cubicBezTo>
                      <a:pt x="608" y="759"/>
                      <a:pt x="608" y="759"/>
                      <a:pt x="608" y="759"/>
                    </a:cubicBezTo>
                    <a:cubicBezTo>
                      <a:pt x="605" y="758"/>
                      <a:pt x="535" y="731"/>
                      <a:pt x="470" y="665"/>
                    </a:cubicBezTo>
                    <a:cubicBezTo>
                      <a:pt x="430" y="680"/>
                      <a:pt x="387" y="688"/>
                      <a:pt x="344" y="688"/>
                    </a:cubicBezTo>
                    <a:cubicBezTo>
                      <a:pt x="272" y="688"/>
                      <a:pt x="203" y="666"/>
                      <a:pt x="144" y="624"/>
                    </a:cubicBezTo>
                    <a:cubicBezTo>
                      <a:pt x="165" y="595"/>
                      <a:pt x="165" y="595"/>
                      <a:pt x="165" y="595"/>
                    </a:cubicBezTo>
                    <a:cubicBezTo>
                      <a:pt x="218" y="633"/>
                      <a:pt x="279" y="652"/>
                      <a:pt x="344" y="652"/>
                    </a:cubicBezTo>
                    <a:cubicBezTo>
                      <a:pt x="387" y="652"/>
                      <a:pt x="428" y="644"/>
                      <a:pt x="467" y="627"/>
                    </a:cubicBezTo>
                    <a:cubicBezTo>
                      <a:pt x="479" y="622"/>
                      <a:pt x="479" y="622"/>
                      <a:pt x="479" y="622"/>
                    </a:cubicBezTo>
                    <a:cubicBezTo>
                      <a:pt x="487" y="631"/>
                      <a:pt x="487" y="631"/>
                      <a:pt x="487" y="631"/>
                    </a:cubicBezTo>
                    <a:cubicBezTo>
                      <a:pt x="521" y="667"/>
                      <a:pt x="558" y="692"/>
                      <a:pt x="584" y="707"/>
                    </a:cubicBezTo>
                    <a:cubicBezTo>
                      <a:pt x="571" y="665"/>
                      <a:pt x="562" y="621"/>
                      <a:pt x="558" y="576"/>
                    </a:cubicBezTo>
                    <a:cubicBezTo>
                      <a:pt x="557" y="567"/>
                      <a:pt x="557" y="567"/>
                      <a:pt x="557" y="567"/>
                    </a:cubicBezTo>
                    <a:cubicBezTo>
                      <a:pt x="563" y="561"/>
                      <a:pt x="563" y="561"/>
                      <a:pt x="563" y="561"/>
                    </a:cubicBezTo>
                    <a:cubicBezTo>
                      <a:pt x="620" y="503"/>
                      <a:pt x="652" y="426"/>
                      <a:pt x="652" y="344"/>
                    </a:cubicBezTo>
                    <a:cubicBezTo>
                      <a:pt x="652" y="174"/>
                      <a:pt x="514" y="36"/>
                      <a:pt x="344" y="36"/>
                    </a:cubicBezTo>
                    <a:cubicBezTo>
                      <a:pt x="179" y="36"/>
                      <a:pt x="44" y="165"/>
                      <a:pt x="36" y="330"/>
                    </a:cubicBezTo>
                    <a:cubicBezTo>
                      <a:pt x="0" y="328"/>
                      <a:pt x="0" y="328"/>
                      <a:pt x="0" y="328"/>
                    </a:cubicBezTo>
                    <a:cubicBezTo>
                      <a:pt x="9" y="144"/>
                      <a:pt x="160" y="0"/>
                      <a:pt x="344" y="0"/>
                    </a:cubicBezTo>
                    <a:cubicBezTo>
                      <a:pt x="534" y="0"/>
                      <a:pt x="688" y="154"/>
                      <a:pt x="688" y="344"/>
                    </a:cubicBezTo>
                    <a:cubicBezTo>
                      <a:pt x="688" y="433"/>
                      <a:pt x="655" y="516"/>
                      <a:pt x="594" y="580"/>
                    </a:cubicBezTo>
                    <a:cubicBezTo>
                      <a:pt x="601" y="634"/>
                      <a:pt x="613" y="686"/>
                      <a:pt x="632" y="736"/>
                    </a:cubicBezTo>
                    <a:lnTo>
                      <a:pt x="645" y="7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63" name="Freeform 28">
                <a:extLst>
                  <a:ext uri="{FF2B5EF4-FFF2-40B4-BE49-F238E27FC236}">
                    <a16:creationId xmlns:a16="http://schemas.microsoft.com/office/drawing/2014/main" id="{2479A4BF-7F25-4122-90E8-3396430DD3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8836" y="3141666"/>
                <a:ext cx="627064" cy="1419223"/>
              </a:xfrm>
              <a:custGeom>
                <a:avLst/>
                <a:gdLst>
                  <a:gd name="T0" fmla="*/ 43 w 148"/>
                  <a:gd name="T1" fmla="*/ 237 h 334"/>
                  <a:gd name="T2" fmla="*/ 42 w 148"/>
                  <a:gd name="T3" fmla="*/ 225 h 334"/>
                  <a:gd name="T4" fmla="*/ 72 w 148"/>
                  <a:gd name="T5" fmla="*/ 142 h 334"/>
                  <a:gd name="T6" fmla="*/ 105 w 148"/>
                  <a:gd name="T7" fmla="*/ 76 h 334"/>
                  <a:gd name="T8" fmla="*/ 60 w 148"/>
                  <a:gd name="T9" fmla="*/ 35 h 334"/>
                  <a:gd name="T10" fmla="*/ 11 w 148"/>
                  <a:gd name="T11" fmla="*/ 50 h 334"/>
                  <a:gd name="T12" fmla="*/ 0 w 148"/>
                  <a:gd name="T13" fmla="*/ 19 h 334"/>
                  <a:gd name="T14" fmla="*/ 68 w 148"/>
                  <a:gd name="T15" fmla="*/ 0 h 334"/>
                  <a:gd name="T16" fmla="*/ 148 w 148"/>
                  <a:gd name="T17" fmla="*/ 71 h 334"/>
                  <a:gd name="T18" fmla="*/ 107 w 148"/>
                  <a:gd name="T19" fmla="*/ 154 h 334"/>
                  <a:gd name="T20" fmla="*/ 80 w 148"/>
                  <a:gd name="T21" fmla="*/ 225 h 334"/>
                  <a:gd name="T22" fmla="*/ 80 w 148"/>
                  <a:gd name="T23" fmla="*/ 237 h 334"/>
                  <a:gd name="T24" fmla="*/ 43 w 148"/>
                  <a:gd name="T25" fmla="*/ 237 h 334"/>
                  <a:gd name="T26" fmla="*/ 32 w 148"/>
                  <a:gd name="T27" fmla="*/ 304 h 334"/>
                  <a:gd name="T28" fmla="*/ 61 w 148"/>
                  <a:gd name="T29" fmla="*/ 274 h 334"/>
                  <a:gd name="T30" fmla="*/ 89 w 148"/>
                  <a:gd name="T31" fmla="*/ 304 h 334"/>
                  <a:gd name="T32" fmla="*/ 61 w 148"/>
                  <a:gd name="T33" fmla="*/ 334 h 334"/>
                  <a:gd name="T34" fmla="*/ 32 w 148"/>
                  <a:gd name="T35" fmla="*/ 304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8" h="334">
                    <a:moveTo>
                      <a:pt x="43" y="237"/>
                    </a:moveTo>
                    <a:cubicBezTo>
                      <a:pt x="42" y="225"/>
                      <a:pt x="42" y="225"/>
                      <a:pt x="42" y="225"/>
                    </a:cubicBezTo>
                    <a:cubicBezTo>
                      <a:pt x="39" y="199"/>
                      <a:pt x="48" y="171"/>
                      <a:pt x="72" y="142"/>
                    </a:cubicBezTo>
                    <a:cubicBezTo>
                      <a:pt x="93" y="116"/>
                      <a:pt x="105" y="98"/>
                      <a:pt x="105" y="76"/>
                    </a:cubicBezTo>
                    <a:cubicBezTo>
                      <a:pt x="105" y="51"/>
                      <a:pt x="90" y="35"/>
                      <a:pt x="60" y="35"/>
                    </a:cubicBezTo>
                    <a:cubicBezTo>
                      <a:pt x="42" y="35"/>
                      <a:pt x="23" y="40"/>
                      <a:pt x="11" y="5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15" y="8"/>
                      <a:pt x="43" y="0"/>
                      <a:pt x="68" y="0"/>
                    </a:cubicBezTo>
                    <a:cubicBezTo>
                      <a:pt x="123" y="0"/>
                      <a:pt x="148" y="34"/>
                      <a:pt x="148" y="71"/>
                    </a:cubicBezTo>
                    <a:cubicBezTo>
                      <a:pt x="148" y="103"/>
                      <a:pt x="130" y="127"/>
                      <a:pt x="107" y="154"/>
                    </a:cubicBezTo>
                    <a:cubicBezTo>
                      <a:pt x="86" y="179"/>
                      <a:pt x="78" y="200"/>
                      <a:pt x="80" y="225"/>
                    </a:cubicBezTo>
                    <a:cubicBezTo>
                      <a:pt x="80" y="237"/>
                      <a:pt x="80" y="237"/>
                      <a:pt x="80" y="237"/>
                    </a:cubicBezTo>
                    <a:lnTo>
                      <a:pt x="43" y="237"/>
                    </a:lnTo>
                    <a:close/>
                    <a:moveTo>
                      <a:pt x="32" y="304"/>
                    </a:moveTo>
                    <a:cubicBezTo>
                      <a:pt x="32" y="287"/>
                      <a:pt x="44" y="274"/>
                      <a:pt x="61" y="274"/>
                    </a:cubicBezTo>
                    <a:cubicBezTo>
                      <a:pt x="78" y="274"/>
                      <a:pt x="89" y="287"/>
                      <a:pt x="89" y="304"/>
                    </a:cubicBezTo>
                    <a:cubicBezTo>
                      <a:pt x="89" y="321"/>
                      <a:pt x="78" y="334"/>
                      <a:pt x="61" y="334"/>
                    </a:cubicBezTo>
                    <a:cubicBezTo>
                      <a:pt x="44" y="334"/>
                      <a:pt x="32" y="321"/>
                      <a:pt x="32" y="3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</p:grp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60EFE12F-12D5-46F6-A7AA-856FA7D3264F}"/>
              </a:ext>
            </a:extLst>
          </p:cNvPr>
          <p:cNvGrpSpPr/>
          <p:nvPr/>
        </p:nvGrpSpPr>
        <p:grpSpPr>
          <a:xfrm>
            <a:off x="8744636" y="4711083"/>
            <a:ext cx="2092176" cy="1027299"/>
            <a:chOff x="9535549" y="961237"/>
            <a:chExt cx="2092176" cy="1027299"/>
          </a:xfrm>
          <a:solidFill>
            <a:schemeClr val="accent1"/>
          </a:solidFill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D379736E-1164-4C7C-AD26-27984CF2EAF4}"/>
                </a:ext>
              </a:extLst>
            </p:cNvPr>
            <p:cNvSpPr/>
            <p:nvPr/>
          </p:nvSpPr>
          <p:spPr>
            <a:xfrm>
              <a:off x="9535549" y="1680759"/>
              <a:ext cx="209217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Instant message</a:t>
              </a:r>
            </a:p>
          </p:txBody>
        </p: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E6D4073C-70E6-4318-9D22-EEF0B589F064}"/>
                </a:ext>
              </a:extLst>
            </p:cNvPr>
            <p:cNvGrpSpPr/>
            <p:nvPr/>
          </p:nvGrpSpPr>
          <p:grpSpPr>
            <a:xfrm>
              <a:off x="10267111" y="961237"/>
              <a:ext cx="629065" cy="704855"/>
              <a:chOff x="4695826" y="1858963"/>
              <a:chExt cx="2806700" cy="3144838"/>
            </a:xfrm>
            <a:grpFill/>
          </p:grpSpPr>
          <p:sp>
            <p:nvSpPr>
              <p:cNvPr id="67" name="Freeform 38">
                <a:extLst>
                  <a:ext uri="{FF2B5EF4-FFF2-40B4-BE49-F238E27FC236}">
                    <a16:creationId xmlns:a16="http://schemas.microsoft.com/office/drawing/2014/main" id="{4B19F857-F8E0-478B-8880-2EEFFC8470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1301" y="1858963"/>
                <a:ext cx="842963" cy="615950"/>
              </a:xfrm>
              <a:custGeom>
                <a:avLst/>
                <a:gdLst>
                  <a:gd name="T0" fmla="*/ 180 w 198"/>
                  <a:gd name="T1" fmla="*/ 143 h 145"/>
                  <a:gd name="T2" fmla="*/ 167 w 198"/>
                  <a:gd name="T3" fmla="*/ 137 h 145"/>
                  <a:gd name="T4" fmla="*/ 99 w 198"/>
                  <a:gd name="T5" fmla="*/ 44 h 145"/>
                  <a:gd name="T6" fmla="*/ 31 w 198"/>
                  <a:gd name="T7" fmla="*/ 137 h 145"/>
                  <a:gd name="T8" fmla="*/ 9 w 198"/>
                  <a:gd name="T9" fmla="*/ 140 h 145"/>
                  <a:gd name="T10" fmla="*/ 5 w 198"/>
                  <a:gd name="T11" fmla="*/ 118 h 145"/>
                  <a:gd name="T12" fmla="*/ 86 w 198"/>
                  <a:gd name="T13" fmla="*/ 7 h 145"/>
                  <a:gd name="T14" fmla="*/ 99 w 198"/>
                  <a:gd name="T15" fmla="*/ 0 h 145"/>
                  <a:gd name="T16" fmla="*/ 112 w 198"/>
                  <a:gd name="T17" fmla="*/ 7 h 145"/>
                  <a:gd name="T18" fmla="*/ 193 w 198"/>
                  <a:gd name="T19" fmla="*/ 118 h 145"/>
                  <a:gd name="T20" fmla="*/ 190 w 198"/>
                  <a:gd name="T21" fmla="*/ 140 h 145"/>
                  <a:gd name="T22" fmla="*/ 180 w 198"/>
                  <a:gd name="T23" fmla="*/ 143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8" h="145">
                    <a:moveTo>
                      <a:pt x="180" y="143"/>
                    </a:moveTo>
                    <a:cubicBezTo>
                      <a:pt x="175" y="143"/>
                      <a:pt x="170" y="141"/>
                      <a:pt x="167" y="137"/>
                    </a:cubicBezTo>
                    <a:cubicBezTo>
                      <a:pt x="99" y="44"/>
                      <a:pt x="99" y="44"/>
                      <a:pt x="99" y="44"/>
                    </a:cubicBezTo>
                    <a:cubicBezTo>
                      <a:pt x="31" y="137"/>
                      <a:pt x="31" y="137"/>
                      <a:pt x="31" y="137"/>
                    </a:cubicBezTo>
                    <a:cubicBezTo>
                      <a:pt x="26" y="144"/>
                      <a:pt x="16" y="145"/>
                      <a:pt x="9" y="140"/>
                    </a:cubicBezTo>
                    <a:cubicBezTo>
                      <a:pt x="2" y="135"/>
                      <a:pt x="0" y="125"/>
                      <a:pt x="5" y="118"/>
                    </a:cubicBezTo>
                    <a:cubicBezTo>
                      <a:pt x="86" y="7"/>
                      <a:pt x="86" y="7"/>
                      <a:pt x="86" y="7"/>
                    </a:cubicBezTo>
                    <a:cubicBezTo>
                      <a:pt x="89" y="3"/>
                      <a:pt x="94" y="0"/>
                      <a:pt x="99" y="0"/>
                    </a:cubicBezTo>
                    <a:cubicBezTo>
                      <a:pt x="104" y="0"/>
                      <a:pt x="109" y="3"/>
                      <a:pt x="112" y="7"/>
                    </a:cubicBezTo>
                    <a:cubicBezTo>
                      <a:pt x="193" y="118"/>
                      <a:pt x="193" y="118"/>
                      <a:pt x="193" y="118"/>
                    </a:cubicBezTo>
                    <a:cubicBezTo>
                      <a:pt x="198" y="125"/>
                      <a:pt x="197" y="135"/>
                      <a:pt x="190" y="140"/>
                    </a:cubicBezTo>
                    <a:cubicBezTo>
                      <a:pt x="187" y="142"/>
                      <a:pt x="183" y="143"/>
                      <a:pt x="180" y="1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68" name="Freeform 39">
                <a:extLst>
                  <a:ext uri="{FF2B5EF4-FFF2-40B4-BE49-F238E27FC236}">
                    <a16:creationId xmlns:a16="http://schemas.microsoft.com/office/drawing/2014/main" id="{E8483CE9-B70C-4E43-9921-66A82B6F87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2663" y="2057400"/>
                <a:ext cx="901700" cy="896938"/>
              </a:xfrm>
              <a:custGeom>
                <a:avLst/>
                <a:gdLst>
                  <a:gd name="T0" fmla="*/ 194 w 212"/>
                  <a:gd name="T1" fmla="*/ 211 h 211"/>
                  <a:gd name="T2" fmla="*/ 183 w 212"/>
                  <a:gd name="T3" fmla="*/ 206 h 211"/>
                  <a:gd name="T4" fmla="*/ 6 w 212"/>
                  <a:gd name="T5" fmla="*/ 29 h 211"/>
                  <a:gd name="T6" fmla="*/ 6 w 212"/>
                  <a:gd name="T7" fmla="*/ 7 h 211"/>
                  <a:gd name="T8" fmla="*/ 29 w 212"/>
                  <a:gd name="T9" fmla="*/ 7 h 211"/>
                  <a:gd name="T10" fmla="*/ 205 w 212"/>
                  <a:gd name="T11" fmla="*/ 183 h 211"/>
                  <a:gd name="T12" fmla="*/ 205 w 212"/>
                  <a:gd name="T13" fmla="*/ 206 h 211"/>
                  <a:gd name="T14" fmla="*/ 194 w 212"/>
                  <a:gd name="T15" fmla="*/ 211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2" h="211">
                    <a:moveTo>
                      <a:pt x="194" y="211"/>
                    </a:moveTo>
                    <a:cubicBezTo>
                      <a:pt x="190" y="211"/>
                      <a:pt x="186" y="209"/>
                      <a:pt x="183" y="206"/>
                    </a:cubicBezTo>
                    <a:cubicBezTo>
                      <a:pt x="6" y="29"/>
                      <a:pt x="6" y="29"/>
                      <a:pt x="6" y="29"/>
                    </a:cubicBezTo>
                    <a:cubicBezTo>
                      <a:pt x="0" y="23"/>
                      <a:pt x="0" y="13"/>
                      <a:pt x="6" y="7"/>
                    </a:cubicBezTo>
                    <a:cubicBezTo>
                      <a:pt x="12" y="0"/>
                      <a:pt x="22" y="0"/>
                      <a:pt x="29" y="7"/>
                    </a:cubicBezTo>
                    <a:cubicBezTo>
                      <a:pt x="205" y="183"/>
                      <a:pt x="205" y="183"/>
                      <a:pt x="205" y="183"/>
                    </a:cubicBezTo>
                    <a:cubicBezTo>
                      <a:pt x="212" y="190"/>
                      <a:pt x="212" y="200"/>
                      <a:pt x="205" y="206"/>
                    </a:cubicBezTo>
                    <a:cubicBezTo>
                      <a:pt x="202" y="209"/>
                      <a:pt x="198" y="211"/>
                      <a:pt x="194" y="2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69" name="Freeform 40">
                <a:extLst>
                  <a:ext uri="{FF2B5EF4-FFF2-40B4-BE49-F238E27FC236}">
                    <a16:creationId xmlns:a16="http://schemas.microsoft.com/office/drawing/2014/main" id="{17DC4DA3-962E-4A5D-B0BA-81E3282889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2663" y="2057400"/>
                <a:ext cx="901700" cy="896938"/>
              </a:xfrm>
              <a:custGeom>
                <a:avLst/>
                <a:gdLst>
                  <a:gd name="T0" fmla="*/ 17 w 212"/>
                  <a:gd name="T1" fmla="*/ 211 h 211"/>
                  <a:gd name="T2" fmla="*/ 6 w 212"/>
                  <a:gd name="T3" fmla="*/ 206 h 211"/>
                  <a:gd name="T4" fmla="*/ 6 w 212"/>
                  <a:gd name="T5" fmla="*/ 183 h 211"/>
                  <a:gd name="T6" fmla="*/ 183 w 212"/>
                  <a:gd name="T7" fmla="*/ 7 h 211"/>
                  <a:gd name="T8" fmla="*/ 205 w 212"/>
                  <a:gd name="T9" fmla="*/ 7 h 211"/>
                  <a:gd name="T10" fmla="*/ 205 w 212"/>
                  <a:gd name="T11" fmla="*/ 29 h 211"/>
                  <a:gd name="T12" fmla="*/ 29 w 212"/>
                  <a:gd name="T13" fmla="*/ 206 h 211"/>
                  <a:gd name="T14" fmla="*/ 17 w 212"/>
                  <a:gd name="T15" fmla="*/ 211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2" h="211">
                    <a:moveTo>
                      <a:pt x="17" y="211"/>
                    </a:moveTo>
                    <a:cubicBezTo>
                      <a:pt x="13" y="211"/>
                      <a:pt x="9" y="209"/>
                      <a:pt x="6" y="206"/>
                    </a:cubicBezTo>
                    <a:cubicBezTo>
                      <a:pt x="0" y="200"/>
                      <a:pt x="0" y="190"/>
                      <a:pt x="6" y="183"/>
                    </a:cubicBezTo>
                    <a:cubicBezTo>
                      <a:pt x="183" y="7"/>
                      <a:pt x="183" y="7"/>
                      <a:pt x="183" y="7"/>
                    </a:cubicBezTo>
                    <a:cubicBezTo>
                      <a:pt x="189" y="0"/>
                      <a:pt x="199" y="0"/>
                      <a:pt x="205" y="7"/>
                    </a:cubicBezTo>
                    <a:cubicBezTo>
                      <a:pt x="212" y="13"/>
                      <a:pt x="212" y="23"/>
                      <a:pt x="205" y="29"/>
                    </a:cubicBezTo>
                    <a:cubicBezTo>
                      <a:pt x="29" y="206"/>
                      <a:pt x="29" y="206"/>
                      <a:pt x="29" y="206"/>
                    </a:cubicBezTo>
                    <a:cubicBezTo>
                      <a:pt x="26" y="209"/>
                      <a:pt x="21" y="211"/>
                      <a:pt x="17" y="2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70" name="Freeform 41">
                <a:extLst>
                  <a:ext uri="{FF2B5EF4-FFF2-40B4-BE49-F238E27FC236}">
                    <a16:creationId xmlns:a16="http://schemas.microsoft.com/office/drawing/2014/main" id="{9B758B39-8ACC-4AEF-9295-35A1378F6D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376" y="1884363"/>
                <a:ext cx="1920875" cy="2192338"/>
              </a:xfrm>
              <a:custGeom>
                <a:avLst/>
                <a:gdLst>
                  <a:gd name="T0" fmla="*/ 16 w 452"/>
                  <a:gd name="T1" fmla="*/ 516 h 516"/>
                  <a:gd name="T2" fmla="*/ 0 w 452"/>
                  <a:gd name="T3" fmla="*/ 500 h 516"/>
                  <a:gd name="T4" fmla="*/ 0 w 452"/>
                  <a:gd name="T5" fmla="*/ 388 h 516"/>
                  <a:gd name="T6" fmla="*/ 16 w 452"/>
                  <a:gd name="T7" fmla="*/ 372 h 516"/>
                  <a:gd name="T8" fmla="*/ 420 w 452"/>
                  <a:gd name="T9" fmla="*/ 372 h 516"/>
                  <a:gd name="T10" fmla="*/ 420 w 452"/>
                  <a:gd name="T11" fmla="*/ 16 h 516"/>
                  <a:gd name="T12" fmla="*/ 436 w 452"/>
                  <a:gd name="T13" fmla="*/ 0 h 516"/>
                  <a:gd name="T14" fmla="*/ 452 w 452"/>
                  <a:gd name="T15" fmla="*/ 16 h 516"/>
                  <a:gd name="T16" fmla="*/ 452 w 452"/>
                  <a:gd name="T17" fmla="*/ 388 h 516"/>
                  <a:gd name="T18" fmla="*/ 436 w 452"/>
                  <a:gd name="T19" fmla="*/ 404 h 516"/>
                  <a:gd name="T20" fmla="*/ 32 w 452"/>
                  <a:gd name="T21" fmla="*/ 404 h 516"/>
                  <a:gd name="T22" fmla="*/ 32 w 452"/>
                  <a:gd name="T23" fmla="*/ 500 h 516"/>
                  <a:gd name="T24" fmla="*/ 16 w 452"/>
                  <a:gd name="T25" fmla="*/ 516 h 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52" h="516">
                    <a:moveTo>
                      <a:pt x="16" y="516"/>
                    </a:moveTo>
                    <a:cubicBezTo>
                      <a:pt x="7" y="516"/>
                      <a:pt x="0" y="509"/>
                      <a:pt x="0" y="500"/>
                    </a:cubicBezTo>
                    <a:cubicBezTo>
                      <a:pt x="0" y="388"/>
                      <a:pt x="0" y="388"/>
                      <a:pt x="0" y="388"/>
                    </a:cubicBezTo>
                    <a:cubicBezTo>
                      <a:pt x="0" y="379"/>
                      <a:pt x="7" y="372"/>
                      <a:pt x="16" y="372"/>
                    </a:cubicBezTo>
                    <a:cubicBezTo>
                      <a:pt x="420" y="372"/>
                      <a:pt x="420" y="372"/>
                      <a:pt x="420" y="372"/>
                    </a:cubicBezTo>
                    <a:cubicBezTo>
                      <a:pt x="420" y="16"/>
                      <a:pt x="420" y="16"/>
                      <a:pt x="420" y="16"/>
                    </a:cubicBezTo>
                    <a:cubicBezTo>
                      <a:pt x="420" y="7"/>
                      <a:pt x="427" y="0"/>
                      <a:pt x="436" y="0"/>
                    </a:cubicBezTo>
                    <a:cubicBezTo>
                      <a:pt x="445" y="0"/>
                      <a:pt x="452" y="7"/>
                      <a:pt x="452" y="16"/>
                    </a:cubicBezTo>
                    <a:cubicBezTo>
                      <a:pt x="452" y="388"/>
                      <a:pt x="452" y="388"/>
                      <a:pt x="452" y="388"/>
                    </a:cubicBezTo>
                    <a:cubicBezTo>
                      <a:pt x="452" y="397"/>
                      <a:pt x="445" y="404"/>
                      <a:pt x="436" y="404"/>
                    </a:cubicBezTo>
                    <a:cubicBezTo>
                      <a:pt x="32" y="404"/>
                      <a:pt x="32" y="404"/>
                      <a:pt x="32" y="404"/>
                    </a:cubicBezTo>
                    <a:cubicBezTo>
                      <a:pt x="32" y="500"/>
                      <a:pt x="32" y="500"/>
                      <a:pt x="32" y="500"/>
                    </a:cubicBezTo>
                    <a:cubicBezTo>
                      <a:pt x="32" y="509"/>
                      <a:pt x="25" y="516"/>
                      <a:pt x="16" y="5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71" name="Freeform 42">
                <a:extLst>
                  <a:ext uri="{FF2B5EF4-FFF2-40B4-BE49-F238E27FC236}">
                    <a16:creationId xmlns:a16="http://schemas.microsoft.com/office/drawing/2014/main" id="{EC40E0C0-52FA-4EE1-9B14-7A1758EB41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6" y="3941763"/>
                <a:ext cx="1062038" cy="1062038"/>
              </a:xfrm>
              <a:custGeom>
                <a:avLst/>
                <a:gdLst>
                  <a:gd name="T0" fmla="*/ 125 w 250"/>
                  <a:gd name="T1" fmla="*/ 250 h 250"/>
                  <a:gd name="T2" fmla="*/ 0 w 250"/>
                  <a:gd name="T3" fmla="*/ 125 h 250"/>
                  <a:gd name="T4" fmla="*/ 125 w 250"/>
                  <a:gd name="T5" fmla="*/ 0 h 250"/>
                  <a:gd name="T6" fmla="*/ 250 w 250"/>
                  <a:gd name="T7" fmla="*/ 125 h 250"/>
                  <a:gd name="T8" fmla="*/ 125 w 250"/>
                  <a:gd name="T9" fmla="*/ 250 h 250"/>
                  <a:gd name="T10" fmla="*/ 125 w 250"/>
                  <a:gd name="T11" fmla="*/ 32 h 250"/>
                  <a:gd name="T12" fmla="*/ 32 w 250"/>
                  <a:gd name="T13" fmla="*/ 125 h 250"/>
                  <a:gd name="T14" fmla="*/ 125 w 250"/>
                  <a:gd name="T15" fmla="*/ 218 h 250"/>
                  <a:gd name="T16" fmla="*/ 218 w 250"/>
                  <a:gd name="T17" fmla="*/ 125 h 250"/>
                  <a:gd name="T18" fmla="*/ 125 w 250"/>
                  <a:gd name="T19" fmla="*/ 32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0" h="250">
                    <a:moveTo>
                      <a:pt x="125" y="250"/>
                    </a:move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ubicBezTo>
                      <a:pt x="250" y="194"/>
                      <a:pt x="194" y="250"/>
                      <a:pt x="125" y="250"/>
                    </a:cubicBezTo>
                    <a:close/>
                    <a:moveTo>
                      <a:pt x="125" y="32"/>
                    </a:moveTo>
                    <a:cubicBezTo>
                      <a:pt x="73" y="32"/>
                      <a:pt x="32" y="74"/>
                      <a:pt x="32" y="125"/>
                    </a:cubicBezTo>
                    <a:cubicBezTo>
                      <a:pt x="32" y="176"/>
                      <a:pt x="73" y="218"/>
                      <a:pt x="125" y="218"/>
                    </a:cubicBezTo>
                    <a:cubicBezTo>
                      <a:pt x="176" y="218"/>
                      <a:pt x="218" y="176"/>
                      <a:pt x="218" y="125"/>
                    </a:cubicBezTo>
                    <a:cubicBezTo>
                      <a:pt x="218" y="74"/>
                      <a:pt x="176" y="32"/>
                      <a:pt x="125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72" name="Freeform 43">
                <a:extLst>
                  <a:ext uri="{FF2B5EF4-FFF2-40B4-BE49-F238E27FC236}">
                    <a16:creationId xmlns:a16="http://schemas.microsoft.com/office/drawing/2014/main" id="{273033C0-696C-4033-8FD3-4665B11135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0826" y="4043363"/>
                <a:ext cx="901700" cy="896938"/>
              </a:xfrm>
              <a:custGeom>
                <a:avLst/>
                <a:gdLst>
                  <a:gd name="T0" fmla="*/ 194 w 212"/>
                  <a:gd name="T1" fmla="*/ 211 h 211"/>
                  <a:gd name="T2" fmla="*/ 183 w 212"/>
                  <a:gd name="T3" fmla="*/ 206 h 211"/>
                  <a:gd name="T4" fmla="*/ 6 w 212"/>
                  <a:gd name="T5" fmla="*/ 29 h 211"/>
                  <a:gd name="T6" fmla="*/ 6 w 212"/>
                  <a:gd name="T7" fmla="*/ 7 h 211"/>
                  <a:gd name="T8" fmla="*/ 29 w 212"/>
                  <a:gd name="T9" fmla="*/ 7 h 211"/>
                  <a:gd name="T10" fmla="*/ 206 w 212"/>
                  <a:gd name="T11" fmla="*/ 183 h 211"/>
                  <a:gd name="T12" fmla="*/ 206 w 212"/>
                  <a:gd name="T13" fmla="*/ 206 h 211"/>
                  <a:gd name="T14" fmla="*/ 194 w 212"/>
                  <a:gd name="T15" fmla="*/ 211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2" h="211">
                    <a:moveTo>
                      <a:pt x="194" y="211"/>
                    </a:moveTo>
                    <a:cubicBezTo>
                      <a:pt x="190" y="211"/>
                      <a:pt x="186" y="209"/>
                      <a:pt x="183" y="206"/>
                    </a:cubicBezTo>
                    <a:cubicBezTo>
                      <a:pt x="6" y="29"/>
                      <a:pt x="6" y="29"/>
                      <a:pt x="6" y="29"/>
                    </a:cubicBezTo>
                    <a:cubicBezTo>
                      <a:pt x="0" y="23"/>
                      <a:pt x="0" y="13"/>
                      <a:pt x="6" y="7"/>
                    </a:cubicBezTo>
                    <a:cubicBezTo>
                      <a:pt x="13" y="0"/>
                      <a:pt x="23" y="0"/>
                      <a:pt x="29" y="7"/>
                    </a:cubicBezTo>
                    <a:cubicBezTo>
                      <a:pt x="206" y="183"/>
                      <a:pt x="206" y="183"/>
                      <a:pt x="206" y="183"/>
                    </a:cubicBezTo>
                    <a:cubicBezTo>
                      <a:pt x="212" y="189"/>
                      <a:pt x="212" y="200"/>
                      <a:pt x="206" y="206"/>
                    </a:cubicBezTo>
                    <a:cubicBezTo>
                      <a:pt x="203" y="209"/>
                      <a:pt x="198" y="211"/>
                      <a:pt x="194" y="2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73" name="Freeform 44">
                <a:extLst>
                  <a:ext uri="{FF2B5EF4-FFF2-40B4-BE49-F238E27FC236}">
                    <a16:creationId xmlns:a16="http://schemas.microsoft.com/office/drawing/2014/main" id="{393BA898-8071-4530-9E45-EBB79F56E4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0826" y="4043363"/>
                <a:ext cx="901700" cy="896938"/>
              </a:xfrm>
              <a:custGeom>
                <a:avLst/>
                <a:gdLst>
                  <a:gd name="T0" fmla="*/ 18 w 212"/>
                  <a:gd name="T1" fmla="*/ 211 h 211"/>
                  <a:gd name="T2" fmla="*/ 6 w 212"/>
                  <a:gd name="T3" fmla="*/ 206 h 211"/>
                  <a:gd name="T4" fmla="*/ 6 w 212"/>
                  <a:gd name="T5" fmla="*/ 183 h 211"/>
                  <a:gd name="T6" fmla="*/ 183 w 212"/>
                  <a:gd name="T7" fmla="*/ 7 h 211"/>
                  <a:gd name="T8" fmla="*/ 206 w 212"/>
                  <a:gd name="T9" fmla="*/ 7 h 211"/>
                  <a:gd name="T10" fmla="*/ 206 w 212"/>
                  <a:gd name="T11" fmla="*/ 29 h 211"/>
                  <a:gd name="T12" fmla="*/ 29 w 212"/>
                  <a:gd name="T13" fmla="*/ 206 h 211"/>
                  <a:gd name="T14" fmla="*/ 18 w 212"/>
                  <a:gd name="T15" fmla="*/ 211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2" h="211">
                    <a:moveTo>
                      <a:pt x="18" y="211"/>
                    </a:moveTo>
                    <a:cubicBezTo>
                      <a:pt x="14" y="211"/>
                      <a:pt x="10" y="209"/>
                      <a:pt x="6" y="206"/>
                    </a:cubicBezTo>
                    <a:cubicBezTo>
                      <a:pt x="0" y="200"/>
                      <a:pt x="0" y="189"/>
                      <a:pt x="6" y="183"/>
                    </a:cubicBezTo>
                    <a:cubicBezTo>
                      <a:pt x="183" y="7"/>
                      <a:pt x="183" y="7"/>
                      <a:pt x="183" y="7"/>
                    </a:cubicBezTo>
                    <a:cubicBezTo>
                      <a:pt x="189" y="0"/>
                      <a:pt x="199" y="0"/>
                      <a:pt x="206" y="7"/>
                    </a:cubicBezTo>
                    <a:cubicBezTo>
                      <a:pt x="212" y="13"/>
                      <a:pt x="212" y="23"/>
                      <a:pt x="206" y="29"/>
                    </a:cubicBezTo>
                    <a:cubicBezTo>
                      <a:pt x="29" y="206"/>
                      <a:pt x="29" y="206"/>
                      <a:pt x="29" y="206"/>
                    </a:cubicBezTo>
                    <a:cubicBezTo>
                      <a:pt x="26" y="209"/>
                      <a:pt x="22" y="211"/>
                      <a:pt x="18" y="2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</p:grp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13A1B873-9E49-4A57-84AF-41CD010948DE}"/>
              </a:ext>
            </a:extLst>
          </p:cNvPr>
          <p:cNvGrpSpPr/>
          <p:nvPr/>
        </p:nvGrpSpPr>
        <p:grpSpPr>
          <a:xfrm>
            <a:off x="5062375" y="4799353"/>
            <a:ext cx="2092176" cy="939029"/>
            <a:chOff x="4107209" y="1049507"/>
            <a:chExt cx="2092176" cy="939029"/>
          </a:xfrm>
          <a:solidFill>
            <a:schemeClr val="accent1"/>
          </a:solidFill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DDD53A63-07C4-4DD8-AA14-B3ED3859F1FB}"/>
                </a:ext>
              </a:extLst>
            </p:cNvPr>
            <p:cNvSpPr/>
            <p:nvPr/>
          </p:nvSpPr>
          <p:spPr>
            <a:xfrm>
              <a:off x="4107209" y="1680759"/>
              <a:ext cx="209217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endPara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endParaRPr>
            </a:p>
          </p:txBody>
        </p:sp>
        <p:sp>
          <p:nvSpPr>
            <p:cNvPr id="76" name="Freeform 48">
              <a:extLst>
                <a:ext uri="{FF2B5EF4-FFF2-40B4-BE49-F238E27FC236}">
                  <a16:creationId xmlns:a16="http://schemas.microsoft.com/office/drawing/2014/main" id="{1B529C8E-0ECE-412D-92F7-EC96E8E538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4377" y="1049507"/>
              <a:ext cx="555994" cy="581782"/>
            </a:xfrm>
            <a:custGeom>
              <a:avLst/>
              <a:gdLst>
                <a:gd name="T0" fmla="*/ 616 w 733"/>
                <a:gd name="T1" fmla="*/ 584 h 767"/>
                <a:gd name="T2" fmla="*/ 562 w 733"/>
                <a:gd name="T3" fmla="*/ 584 h 767"/>
                <a:gd name="T4" fmla="*/ 562 w 733"/>
                <a:gd name="T5" fmla="*/ 289 h 767"/>
                <a:gd name="T6" fmla="*/ 601 w 733"/>
                <a:gd name="T7" fmla="*/ 289 h 767"/>
                <a:gd name="T8" fmla="*/ 498 w 733"/>
                <a:gd name="T9" fmla="*/ 85 h 767"/>
                <a:gd name="T10" fmla="*/ 241 w 733"/>
                <a:gd name="T11" fmla="*/ 82 h 767"/>
                <a:gd name="T12" fmla="*/ 135 w 733"/>
                <a:gd name="T13" fmla="*/ 288 h 767"/>
                <a:gd name="T14" fmla="*/ 172 w 733"/>
                <a:gd name="T15" fmla="*/ 288 h 767"/>
                <a:gd name="T16" fmla="*/ 172 w 733"/>
                <a:gd name="T17" fmla="*/ 581 h 767"/>
                <a:gd name="T18" fmla="*/ 63 w 733"/>
                <a:gd name="T19" fmla="*/ 580 h 767"/>
                <a:gd name="T20" fmla="*/ 1 w 733"/>
                <a:gd name="T21" fmla="*/ 507 h 767"/>
                <a:gd name="T22" fmla="*/ 1 w 733"/>
                <a:gd name="T23" fmla="*/ 364 h 767"/>
                <a:gd name="T24" fmla="*/ 66 w 733"/>
                <a:gd name="T25" fmla="*/ 291 h 767"/>
                <a:gd name="T26" fmla="*/ 91 w 733"/>
                <a:gd name="T27" fmla="*/ 288 h 767"/>
                <a:gd name="T28" fmla="*/ 208 w 733"/>
                <a:gd name="T29" fmla="*/ 54 h 767"/>
                <a:gd name="T30" fmla="*/ 383 w 733"/>
                <a:gd name="T31" fmla="*/ 4 h 767"/>
                <a:gd name="T32" fmla="*/ 643 w 733"/>
                <a:gd name="T33" fmla="*/ 287 h 767"/>
                <a:gd name="T34" fmla="*/ 666 w 733"/>
                <a:gd name="T35" fmla="*/ 290 h 767"/>
                <a:gd name="T36" fmla="*/ 732 w 733"/>
                <a:gd name="T37" fmla="*/ 363 h 767"/>
                <a:gd name="T38" fmla="*/ 732 w 733"/>
                <a:gd name="T39" fmla="*/ 509 h 767"/>
                <a:gd name="T40" fmla="*/ 670 w 733"/>
                <a:gd name="T41" fmla="*/ 581 h 767"/>
                <a:gd name="T42" fmla="*/ 656 w 733"/>
                <a:gd name="T43" fmla="*/ 595 h 767"/>
                <a:gd name="T44" fmla="*/ 540 w 733"/>
                <a:gd name="T45" fmla="*/ 685 h 767"/>
                <a:gd name="T46" fmla="*/ 481 w 733"/>
                <a:gd name="T47" fmla="*/ 685 h 767"/>
                <a:gd name="T48" fmla="*/ 398 w 733"/>
                <a:gd name="T49" fmla="*/ 761 h 767"/>
                <a:gd name="T50" fmla="*/ 299 w 733"/>
                <a:gd name="T51" fmla="*/ 707 h 767"/>
                <a:gd name="T52" fmla="*/ 320 w 733"/>
                <a:gd name="T53" fmla="*/ 595 h 767"/>
                <a:gd name="T54" fmla="*/ 477 w 733"/>
                <a:gd name="T55" fmla="*/ 633 h 767"/>
                <a:gd name="T56" fmla="*/ 494 w 733"/>
                <a:gd name="T57" fmla="*/ 645 h 767"/>
                <a:gd name="T58" fmla="*/ 550 w 733"/>
                <a:gd name="T59" fmla="*/ 643 h 767"/>
                <a:gd name="T60" fmla="*/ 616 w 733"/>
                <a:gd name="T61" fmla="*/ 584 h 767"/>
                <a:gd name="T62" fmla="*/ 132 w 733"/>
                <a:gd name="T63" fmla="*/ 543 h 767"/>
                <a:gd name="T64" fmla="*/ 132 w 733"/>
                <a:gd name="T65" fmla="*/ 330 h 767"/>
                <a:gd name="T66" fmla="*/ 83 w 733"/>
                <a:gd name="T67" fmla="*/ 330 h 767"/>
                <a:gd name="T68" fmla="*/ 41 w 733"/>
                <a:gd name="T69" fmla="*/ 371 h 767"/>
                <a:gd name="T70" fmla="*/ 41 w 733"/>
                <a:gd name="T71" fmla="*/ 500 h 767"/>
                <a:gd name="T72" fmla="*/ 82 w 733"/>
                <a:gd name="T73" fmla="*/ 543 h 767"/>
                <a:gd name="T74" fmla="*/ 132 w 733"/>
                <a:gd name="T75" fmla="*/ 543 h 767"/>
                <a:gd name="T76" fmla="*/ 602 w 733"/>
                <a:gd name="T77" fmla="*/ 544 h 767"/>
                <a:gd name="T78" fmla="*/ 650 w 733"/>
                <a:gd name="T79" fmla="*/ 544 h 767"/>
                <a:gd name="T80" fmla="*/ 693 w 733"/>
                <a:gd name="T81" fmla="*/ 503 h 767"/>
                <a:gd name="T82" fmla="*/ 693 w 733"/>
                <a:gd name="T83" fmla="*/ 372 h 767"/>
                <a:gd name="T84" fmla="*/ 658 w 733"/>
                <a:gd name="T85" fmla="*/ 331 h 767"/>
                <a:gd name="T86" fmla="*/ 602 w 733"/>
                <a:gd name="T87" fmla="*/ 330 h 767"/>
                <a:gd name="T88" fmla="*/ 602 w 733"/>
                <a:gd name="T89" fmla="*/ 544 h 767"/>
                <a:gd name="T90" fmla="*/ 331 w 733"/>
                <a:gd name="T91" fmla="*/ 665 h 767"/>
                <a:gd name="T92" fmla="*/ 387 w 733"/>
                <a:gd name="T93" fmla="*/ 722 h 767"/>
                <a:gd name="T94" fmla="*/ 443 w 733"/>
                <a:gd name="T95" fmla="*/ 666 h 767"/>
                <a:gd name="T96" fmla="*/ 388 w 733"/>
                <a:gd name="T97" fmla="*/ 611 h 767"/>
                <a:gd name="T98" fmla="*/ 331 w 733"/>
                <a:gd name="T99" fmla="*/ 665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33" h="767">
                  <a:moveTo>
                    <a:pt x="616" y="584"/>
                  </a:moveTo>
                  <a:cubicBezTo>
                    <a:pt x="598" y="584"/>
                    <a:pt x="580" y="584"/>
                    <a:pt x="562" y="584"/>
                  </a:cubicBezTo>
                  <a:cubicBezTo>
                    <a:pt x="562" y="485"/>
                    <a:pt x="562" y="388"/>
                    <a:pt x="562" y="289"/>
                  </a:cubicBezTo>
                  <a:cubicBezTo>
                    <a:pt x="574" y="289"/>
                    <a:pt x="586" y="289"/>
                    <a:pt x="601" y="289"/>
                  </a:cubicBezTo>
                  <a:cubicBezTo>
                    <a:pt x="600" y="202"/>
                    <a:pt x="569" y="133"/>
                    <a:pt x="498" y="85"/>
                  </a:cubicBezTo>
                  <a:cubicBezTo>
                    <a:pt x="414" y="30"/>
                    <a:pt x="327" y="29"/>
                    <a:pt x="241" y="82"/>
                  </a:cubicBezTo>
                  <a:cubicBezTo>
                    <a:pt x="169" y="126"/>
                    <a:pt x="123" y="216"/>
                    <a:pt x="135" y="288"/>
                  </a:cubicBezTo>
                  <a:cubicBezTo>
                    <a:pt x="147" y="288"/>
                    <a:pt x="159" y="288"/>
                    <a:pt x="172" y="288"/>
                  </a:cubicBezTo>
                  <a:cubicBezTo>
                    <a:pt x="172" y="387"/>
                    <a:pt x="172" y="484"/>
                    <a:pt x="172" y="581"/>
                  </a:cubicBezTo>
                  <a:cubicBezTo>
                    <a:pt x="136" y="581"/>
                    <a:pt x="99" y="585"/>
                    <a:pt x="63" y="580"/>
                  </a:cubicBezTo>
                  <a:cubicBezTo>
                    <a:pt x="28" y="576"/>
                    <a:pt x="2" y="543"/>
                    <a:pt x="1" y="507"/>
                  </a:cubicBezTo>
                  <a:cubicBezTo>
                    <a:pt x="0" y="459"/>
                    <a:pt x="0" y="411"/>
                    <a:pt x="1" y="364"/>
                  </a:cubicBezTo>
                  <a:cubicBezTo>
                    <a:pt x="2" y="329"/>
                    <a:pt x="31" y="297"/>
                    <a:pt x="66" y="291"/>
                  </a:cubicBezTo>
                  <a:cubicBezTo>
                    <a:pt x="74" y="289"/>
                    <a:pt x="82" y="289"/>
                    <a:pt x="91" y="288"/>
                  </a:cubicBezTo>
                  <a:cubicBezTo>
                    <a:pt x="91" y="190"/>
                    <a:pt x="129" y="112"/>
                    <a:pt x="208" y="54"/>
                  </a:cubicBezTo>
                  <a:cubicBezTo>
                    <a:pt x="260" y="17"/>
                    <a:pt x="319" y="0"/>
                    <a:pt x="383" y="4"/>
                  </a:cubicBezTo>
                  <a:cubicBezTo>
                    <a:pt x="519" y="12"/>
                    <a:pt x="641" y="121"/>
                    <a:pt x="643" y="287"/>
                  </a:cubicBezTo>
                  <a:cubicBezTo>
                    <a:pt x="650" y="288"/>
                    <a:pt x="658" y="289"/>
                    <a:pt x="666" y="290"/>
                  </a:cubicBezTo>
                  <a:cubicBezTo>
                    <a:pt x="702" y="296"/>
                    <a:pt x="731" y="326"/>
                    <a:pt x="732" y="363"/>
                  </a:cubicBezTo>
                  <a:cubicBezTo>
                    <a:pt x="733" y="412"/>
                    <a:pt x="733" y="460"/>
                    <a:pt x="732" y="509"/>
                  </a:cubicBezTo>
                  <a:cubicBezTo>
                    <a:pt x="731" y="542"/>
                    <a:pt x="705" y="572"/>
                    <a:pt x="670" y="581"/>
                  </a:cubicBezTo>
                  <a:cubicBezTo>
                    <a:pt x="662" y="583"/>
                    <a:pt x="659" y="587"/>
                    <a:pt x="656" y="595"/>
                  </a:cubicBezTo>
                  <a:cubicBezTo>
                    <a:pt x="641" y="650"/>
                    <a:pt x="596" y="684"/>
                    <a:pt x="540" y="685"/>
                  </a:cubicBezTo>
                  <a:cubicBezTo>
                    <a:pt x="520" y="686"/>
                    <a:pt x="501" y="685"/>
                    <a:pt x="481" y="685"/>
                  </a:cubicBezTo>
                  <a:cubicBezTo>
                    <a:pt x="469" y="729"/>
                    <a:pt x="441" y="754"/>
                    <a:pt x="398" y="761"/>
                  </a:cubicBezTo>
                  <a:cubicBezTo>
                    <a:pt x="358" y="767"/>
                    <a:pt x="317" y="744"/>
                    <a:pt x="299" y="707"/>
                  </a:cubicBezTo>
                  <a:cubicBezTo>
                    <a:pt x="281" y="668"/>
                    <a:pt x="289" y="622"/>
                    <a:pt x="320" y="595"/>
                  </a:cubicBezTo>
                  <a:cubicBezTo>
                    <a:pt x="373" y="547"/>
                    <a:pt x="452" y="566"/>
                    <a:pt x="477" y="633"/>
                  </a:cubicBezTo>
                  <a:cubicBezTo>
                    <a:pt x="480" y="642"/>
                    <a:pt x="484" y="646"/>
                    <a:pt x="494" y="645"/>
                  </a:cubicBezTo>
                  <a:cubicBezTo>
                    <a:pt x="513" y="644"/>
                    <a:pt x="532" y="645"/>
                    <a:pt x="550" y="643"/>
                  </a:cubicBezTo>
                  <a:cubicBezTo>
                    <a:pt x="583" y="640"/>
                    <a:pt x="612" y="614"/>
                    <a:pt x="616" y="584"/>
                  </a:cubicBezTo>
                  <a:close/>
                  <a:moveTo>
                    <a:pt x="132" y="543"/>
                  </a:moveTo>
                  <a:cubicBezTo>
                    <a:pt x="132" y="471"/>
                    <a:pt x="132" y="401"/>
                    <a:pt x="132" y="330"/>
                  </a:cubicBezTo>
                  <a:cubicBezTo>
                    <a:pt x="115" y="330"/>
                    <a:pt x="99" y="329"/>
                    <a:pt x="83" y="330"/>
                  </a:cubicBezTo>
                  <a:cubicBezTo>
                    <a:pt x="58" y="330"/>
                    <a:pt x="42" y="346"/>
                    <a:pt x="41" y="371"/>
                  </a:cubicBezTo>
                  <a:cubicBezTo>
                    <a:pt x="41" y="414"/>
                    <a:pt x="41" y="457"/>
                    <a:pt x="41" y="500"/>
                  </a:cubicBezTo>
                  <a:cubicBezTo>
                    <a:pt x="42" y="526"/>
                    <a:pt x="57" y="541"/>
                    <a:pt x="82" y="543"/>
                  </a:cubicBezTo>
                  <a:cubicBezTo>
                    <a:pt x="98" y="544"/>
                    <a:pt x="115" y="543"/>
                    <a:pt x="132" y="543"/>
                  </a:cubicBezTo>
                  <a:close/>
                  <a:moveTo>
                    <a:pt x="602" y="544"/>
                  </a:moveTo>
                  <a:cubicBezTo>
                    <a:pt x="619" y="544"/>
                    <a:pt x="635" y="544"/>
                    <a:pt x="650" y="544"/>
                  </a:cubicBezTo>
                  <a:cubicBezTo>
                    <a:pt x="675" y="543"/>
                    <a:pt x="692" y="528"/>
                    <a:pt x="693" y="503"/>
                  </a:cubicBezTo>
                  <a:cubicBezTo>
                    <a:pt x="693" y="459"/>
                    <a:pt x="693" y="416"/>
                    <a:pt x="693" y="372"/>
                  </a:cubicBezTo>
                  <a:cubicBezTo>
                    <a:pt x="692" y="351"/>
                    <a:pt x="677" y="332"/>
                    <a:pt x="658" y="331"/>
                  </a:cubicBezTo>
                  <a:cubicBezTo>
                    <a:pt x="640" y="329"/>
                    <a:pt x="621" y="330"/>
                    <a:pt x="602" y="330"/>
                  </a:cubicBezTo>
                  <a:cubicBezTo>
                    <a:pt x="602" y="402"/>
                    <a:pt x="602" y="472"/>
                    <a:pt x="602" y="544"/>
                  </a:cubicBezTo>
                  <a:close/>
                  <a:moveTo>
                    <a:pt x="331" y="665"/>
                  </a:moveTo>
                  <a:cubicBezTo>
                    <a:pt x="331" y="696"/>
                    <a:pt x="357" y="722"/>
                    <a:pt x="387" y="722"/>
                  </a:cubicBezTo>
                  <a:cubicBezTo>
                    <a:pt x="417" y="722"/>
                    <a:pt x="443" y="696"/>
                    <a:pt x="443" y="666"/>
                  </a:cubicBezTo>
                  <a:cubicBezTo>
                    <a:pt x="443" y="637"/>
                    <a:pt x="418" y="611"/>
                    <a:pt x="388" y="611"/>
                  </a:cubicBezTo>
                  <a:cubicBezTo>
                    <a:pt x="357" y="610"/>
                    <a:pt x="332" y="635"/>
                    <a:pt x="331" y="6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endParaRPr>
            </a:p>
          </p:txBody>
        </p:sp>
      </p:grp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CCAF0EAD-1164-4622-B342-EA46F1162CA8}"/>
              </a:ext>
            </a:extLst>
          </p:cNvPr>
          <p:cNvCxnSpPr>
            <a:cxnSpLocks/>
          </p:cNvCxnSpPr>
          <p:nvPr/>
        </p:nvCxnSpPr>
        <p:spPr>
          <a:xfrm>
            <a:off x="3981619" y="1471369"/>
            <a:ext cx="0" cy="1094439"/>
          </a:xfrm>
          <a:prstGeom prst="line">
            <a:avLst/>
          </a:prstGeom>
          <a:ln w="190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Oval 154">
            <a:extLst>
              <a:ext uri="{FF2B5EF4-FFF2-40B4-BE49-F238E27FC236}">
                <a16:creationId xmlns:a16="http://schemas.microsoft.com/office/drawing/2014/main" id="{ACDDA54D-F946-44FC-8CE3-3B12E02FC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933" y="1252042"/>
            <a:ext cx="1533093" cy="15330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79" name="Group 22">
            <a:extLst>
              <a:ext uri="{FF2B5EF4-FFF2-40B4-BE49-F238E27FC236}">
                <a16:creationId xmlns:a16="http://schemas.microsoft.com/office/drawing/2014/main" id="{37BF480A-6DD2-4808-9925-A050045F76A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1712" y="1552775"/>
            <a:ext cx="782674" cy="931617"/>
            <a:chOff x="3571" y="1840"/>
            <a:chExt cx="536" cy="638"/>
          </a:xfrm>
          <a:solidFill>
            <a:schemeClr val="bg1"/>
          </a:solidFill>
        </p:grpSpPr>
        <p:sp>
          <p:nvSpPr>
            <p:cNvPr id="80" name="Freeform 23">
              <a:extLst>
                <a:ext uri="{FF2B5EF4-FFF2-40B4-BE49-F238E27FC236}">
                  <a16:creationId xmlns:a16="http://schemas.microsoft.com/office/drawing/2014/main" id="{3D318FD9-1C37-4F88-9F4A-7F5F294DE9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9" y="1927"/>
              <a:ext cx="340" cy="416"/>
            </a:xfrm>
            <a:custGeom>
              <a:avLst/>
              <a:gdLst>
                <a:gd name="T0" fmla="*/ 96 w 191"/>
                <a:gd name="T1" fmla="*/ 0 h 234"/>
                <a:gd name="T2" fmla="*/ 0 w 191"/>
                <a:gd name="T3" fmla="*/ 96 h 234"/>
                <a:gd name="T4" fmla="*/ 17 w 191"/>
                <a:gd name="T5" fmla="*/ 151 h 234"/>
                <a:gd name="T6" fmla="*/ 17 w 191"/>
                <a:gd name="T7" fmla="*/ 151 h 234"/>
                <a:gd name="T8" fmla="*/ 48 w 191"/>
                <a:gd name="T9" fmla="*/ 223 h 234"/>
                <a:gd name="T10" fmla="*/ 48 w 191"/>
                <a:gd name="T11" fmla="*/ 234 h 234"/>
                <a:gd name="T12" fmla="*/ 143 w 191"/>
                <a:gd name="T13" fmla="*/ 234 h 234"/>
                <a:gd name="T14" fmla="*/ 143 w 191"/>
                <a:gd name="T15" fmla="*/ 223 h 234"/>
                <a:gd name="T16" fmla="*/ 174 w 191"/>
                <a:gd name="T17" fmla="*/ 151 h 234"/>
                <a:gd name="T18" fmla="*/ 174 w 191"/>
                <a:gd name="T19" fmla="*/ 151 h 234"/>
                <a:gd name="T20" fmla="*/ 191 w 191"/>
                <a:gd name="T21" fmla="*/ 96 h 234"/>
                <a:gd name="T22" fmla="*/ 96 w 191"/>
                <a:gd name="T23" fmla="*/ 0 h 234"/>
                <a:gd name="T24" fmla="*/ 85 w 191"/>
                <a:gd name="T25" fmla="*/ 35 h 234"/>
                <a:gd name="T26" fmla="*/ 46 w 191"/>
                <a:gd name="T27" fmla="*/ 60 h 234"/>
                <a:gd name="T28" fmla="*/ 37 w 191"/>
                <a:gd name="T29" fmla="*/ 105 h 234"/>
                <a:gd name="T30" fmla="*/ 33 w 191"/>
                <a:gd name="T31" fmla="*/ 109 h 234"/>
                <a:gd name="T32" fmla="*/ 33 w 191"/>
                <a:gd name="T33" fmla="*/ 109 h 234"/>
                <a:gd name="T34" fmla="*/ 29 w 191"/>
                <a:gd name="T35" fmla="*/ 106 h 234"/>
                <a:gd name="T36" fmla="*/ 39 w 191"/>
                <a:gd name="T37" fmla="*/ 55 h 234"/>
                <a:gd name="T38" fmla="*/ 83 w 191"/>
                <a:gd name="T39" fmla="*/ 27 h 234"/>
                <a:gd name="T40" fmla="*/ 88 w 191"/>
                <a:gd name="T41" fmla="*/ 30 h 234"/>
                <a:gd name="T42" fmla="*/ 85 w 191"/>
                <a:gd name="T43" fmla="*/ 35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1" h="234">
                  <a:moveTo>
                    <a:pt x="96" y="0"/>
                  </a:moveTo>
                  <a:cubicBezTo>
                    <a:pt x="43" y="0"/>
                    <a:pt x="0" y="43"/>
                    <a:pt x="0" y="96"/>
                  </a:cubicBezTo>
                  <a:cubicBezTo>
                    <a:pt x="0" y="116"/>
                    <a:pt x="6" y="135"/>
                    <a:pt x="17" y="151"/>
                  </a:cubicBezTo>
                  <a:cubicBezTo>
                    <a:pt x="17" y="151"/>
                    <a:pt x="17" y="151"/>
                    <a:pt x="17" y="151"/>
                  </a:cubicBezTo>
                  <a:cubicBezTo>
                    <a:pt x="17" y="151"/>
                    <a:pt x="48" y="191"/>
                    <a:pt x="48" y="223"/>
                  </a:cubicBezTo>
                  <a:cubicBezTo>
                    <a:pt x="48" y="226"/>
                    <a:pt x="48" y="231"/>
                    <a:pt x="48" y="234"/>
                  </a:cubicBezTo>
                  <a:cubicBezTo>
                    <a:pt x="143" y="234"/>
                    <a:pt x="143" y="234"/>
                    <a:pt x="143" y="234"/>
                  </a:cubicBezTo>
                  <a:cubicBezTo>
                    <a:pt x="143" y="232"/>
                    <a:pt x="143" y="229"/>
                    <a:pt x="143" y="223"/>
                  </a:cubicBezTo>
                  <a:cubicBezTo>
                    <a:pt x="143" y="191"/>
                    <a:pt x="174" y="151"/>
                    <a:pt x="174" y="151"/>
                  </a:cubicBezTo>
                  <a:cubicBezTo>
                    <a:pt x="174" y="151"/>
                    <a:pt x="174" y="151"/>
                    <a:pt x="174" y="151"/>
                  </a:cubicBezTo>
                  <a:cubicBezTo>
                    <a:pt x="185" y="135"/>
                    <a:pt x="191" y="116"/>
                    <a:pt x="191" y="96"/>
                  </a:cubicBezTo>
                  <a:cubicBezTo>
                    <a:pt x="191" y="43"/>
                    <a:pt x="148" y="0"/>
                    <a:pt x="96" y="0"/>
                  </a:cubicBezTo>
                  <a:close/>
                  <a:moveTo>
                    <a:pt x="85" y="35"/>
                  </a:moveTo>
                  <a:cubicBezTo>
                    <a:pt x="69" y="38"/>
                    <a:pt x="55" y="47"/>
                    <a:pt x="46" y="60"/>
                  </a:cubicBezTo>
                  <a:cubicBezTo>
                    <a:pt x="37" y="73"/>
                    <a:pt x="34" y="89"/>
                    <a:pt x="37" y="105"/>
                  </a:cubicBezTo>
                  <a:cubicBezTo>
                    <a:pt x="37" y="107"/>
                    <a:pt x="35" y="109"/>
                    <a:pt x="33" y="109"/>
                  </a:cubicBezTo>
                  <a:cubicBezTo>
                    <a:pt x="33" y="109"/>
                    <a:pt x="33" y="109"/>
                    <a:pt x="33" y="109"/>
                  </a:cubicBezTo>
                  <a:cubicBezTo>
                    <a:pt x="31" y="109"/>
                    <a:pt x="29" y="108"/>
                    <a:pt x="29" y="106"/>
                  </a:cubicBezTo>
                  <a:cubicBezTo>
                    <a:pt x="25" y="88"/>
                    <a:pt x="29" y="70"/>
                    <a:pt x="39" y="55"/>
                  </a:cubicBezTo>
                  <a:cubicBezTo>
                    <a:pt x="50" y="40"/>
                    <a:pt x="65" y="30"/>
                    <a:pt x="83" y="27"/>
                  </a:cubicBezTo>
                  <a:cubicBezTo>
                    <a:pt x="85" y="26"/>
                    <a:pt x="87" y="28"/>
                    <a:pt x="88" y="30"/>
                  </a:cubicBezTo>
                  <a:cubicBezTo>
                    <a:pt x="88" y="32"/>
                    <a:pt x="87" y="34"/>
                    <a:pt x="85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Rectangle 24">
              <a:extLst>
                <a:ext uri="{FF2B5EF4-FFF2-40B4-BE49-F238E27FC236}">
                  <a16:creationId xmlns:a16="http://schemas.microsoft.com/office/drawing/2014/main" id="{18F8E2CC-26C9-407A-A25B-F808648193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4" y="2357"/>
              <a:ext cx="170" cy="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25">
              <a:extLst>
                <a:ext uri="{FF2B5EF4-FFF2-40B4-BE49-F238E27FC236}">
                  <a16:creationId xmlns:a16="http://schemas.microsoft.com/office/drawing/2014/main" id="{AF9466DA-8597-41AA-9AE9-E128E30727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4" y="2398"/>
              <a:ext cx="170" cy="30"/>
            </a:xfrm>
            <a:custGeom>
              <a:avLst/>
              <a:gdLst>
                <a:gd name="T0" fmla="*/ 21 w 95"/>
                <a:gd name="T1" fmla="*/ 17 h 17"/>
                <a:gd name="T2" fmla="*/ 74 w 95"/>
                <a:gd name="T3" fmla="*/ 17 h 17"/>
                <a:gd name="T4" fmla="*/ 95 w 95"/>
                <a:gd name="T5" fmla="*/ 0 h 17"/>
                <a:gd name="T6" fmla="*/ 0 w 95"/>
                <a:gd name="T7" fmla="*/ 0 h 17"/>
                <a:gd name="T8" fmla="*/ 21 w 95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7">
                  <a:moveTo>
                    <a:pt x="21" y="17"/>
                  </a:moveTo>
                  <a:cubicBezTo>
                    <a:pt x="74" y="17"/>
                    <a:pt x="74" y="17"/>
                    <a:pt x="74" y="17"/>
                  </a:cubicBezTo>
                  <a:cubicBezTo>
                    <a:pt x="85" y="17"/>
                    <a:pt x="93" y="9"/>
                    <a:pt x="9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0"/>
                    <a:pt x="10" y="17"/>
                    <a:pt x="21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26">
              <a:extLst>
                <a:ext uri="{FF2B5EF4-FFF2-40B4-BE49-F238E27FC236}">
                  <a16:creationId xmlns:a16="http://schemas.microsoft.com/office/drawing/2014/main" id="{66EFF48D-6580-4C17-9B4E-B57A848DD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6" y="2443"/>
              <a:ext cx="66" cy="35"/>
            </a:xfrm>
            <a:custGeom>
              <a:avLst/>
              <a:gdLst>
                <a:gd name="T0" fmla="*/ 0 w 37"/>
                <a:gd name="T1" fmla="*/ 2 h 20"/>
                <a:gd name="T2" fmla="*/ 19 w 37"/>
                <a:gd name="T3" fmla="*/ 20 h 20"/>
                <a:gd name="T4" fmla="*/ 37 w 37"/>
                <a:gd name="T5" fmla="*/ 2 h 20"/>
                <a:gd name="T6" fmla="*/ 37 w 37"/>
                <a:gd name="T7" fmla="*/ 0 h 20"/>
                <a:gd name="T8" fmla="*/ 0 w 37"/>
                <a:gd name="T9" fmla="*/ 0 h 20"/>
                <a:gd name="T10" fmla="*/ 0 w 37"/>
                <a:gd name="T11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20">
                  <a:moveTo>
                    <a:pt x="0" y="2"/>
                  </a:moveTo>
                  <a:cubicBezTo>
                    <a:pt x="0" y="12"/>
                    <a:pt x="8" y="20"/>
                    <a:pt x="19" y="20"/>
                  </a:cubicBezTo>
                  <a:cubicBezTo>
                    <a:pt x="29" y="20"/>
                    <a:pt x="37" y="12"/>
                    <a:pt x="37" y="2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27">
              <a:extLst>
                <a:ext uri="{FF2B5EF4-FFF2-40B4-BE49-F238E27FC236}">
                  <a16:creationId xmlns:a16="http://schemas.microsoft.com/office/drawing/2014/main" id="{39ECDB95-5232-4EB7-B3D7-C6640BDCF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3" y="2119"/>
              <a:ext cx="64" cy="21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4" y="12"/>
                    <a:pt x="36" y="9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28">
              <a:extLst>
                <a:ext uri="{FF2B5EF4-FFF2-40B4-BE49-F238E27FC236}">
                  <a16:creationId xmlns:a16="http://schemas.microsoft.com/office/drawing/2014/main" id="{4C5C22B5-8572-48AF-97AD-E8765C469D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119"/>
              <a:ext cx="66" cy="21"/>
            </a:xfrm>
            <a:custGeom>
              <a:avLst/>
              <a:gdLst>
                <a:gd name="T0" fmla="*/ 31 w 37"/>
                <a:gd name="T1" fmla="*/ 0 h 12"/>
                <a:gd name="T2" fmla="*/ 6 w 37"/>
                <a:gd name="T3" fmla="*/ 0 h 12"/>
                <a:gd name="T4" fmla="*/ 0 w 37"/>
                <a:gd name="T5" fmla="*/ 6 h 12"/>
                <a:gd name="T6" fmla="*/ 6 w 37"/>
                <a:gd name="T7" fmla="*/ 12 h 12"/>
                <a:gd name="T8" fmla="*/ 31 w 37"/>
                <a:gd name="T9" fmla="*/ 12 h 12"/>
                <a:gd name="T10" fmla="*/ 37 w 37"/>
                <a:gd name="T11" fmla="*/ 6 h 12"/>
                <a:gd name="T12" fmla="*/ 31 w 37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12">
                  <a:moveTo>
                    <a:pt x="3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4" y="12"/>
                    <a:pt x="37" y="9"/>
                    <a:pt x="37" y="6"/>
                  </a:cubicBezTo>
                  <a:cubicBezTo>
                    <a:pt x="37" y="2"/>
                    <a:pt x="34" y="0"/>
                    <a:pt x="3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29">
              <a:extLst>
                <a:ext uri="{FF2B5EF4-FFF2-40B4-BE49-F238E27FC236}">
                  <a16:creationId xmlns:a16="http://schemas.microsoft.com/office/drawing/2014/main" id="{39F02898-8C88-4945-B3E9-049BCA17B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9" y="1840"/>
              <a:ext cx="22" cy="64"/>
            </a:xfrm>
            <a:custGeom>
              <a:avLst/>
              <a:gdLst>
                <a:gd name="T0" fmla="*/ 6 w 12"/>
                <a:gd name="T1" fmla="*/ 36 h 36"/>
                <a:gd name="T2" fmla="*/ 12 w 12"/>
                <a:gd name="T3" fmla="*/ 30 h 36"/>
                <a:gd name="T4" fmla="*/ 12 w 12"/>
                <a:gd name="T5" fmla="*/ 6 h 36"/>
                <a:gd name="T6" fmla="*/ 6 w 12"/>
                <a:gd name="T7" fmla="*/ 0 h 36"/>
                <a:gd name="T8" fmla="*/ 0 w 12"/>
                <a:gd name="T9" fmla="*/ 6 h 36"/>
                <a:gd name="T10" fmla="*/ 0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9" y="36"/>
                    <a:pt x="12" y="34"/>
                    <a:pt x="12" y="3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3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30">
              <a:extLst>
                <a:ext uri="{FF2B5EF4-FFF2-40B4-BE49-F238E27FC236}">
                  <a16:creationId xmlns:a16="http://schemas.microsoft.com/office/drawing/2014/main" id="{3DFC451C-7775-482E-A28C-105418A20B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" y="1920"/>
              <a:ext cx="53" cy="53"/>
            </a:xfrm>
            <a:custGeom>
              <a:avLst/>
              <a:gdLst>
                <a:gd name="T0" fmla="*/ 28 w 30"/>
                <a:gd name="T1" fmla="*/ 3 h 30"/>
                <a:gd name="T2" fmla="*/ 20 w 30"/>
                <a:gd name="T3" fmla="*/ 3 h 30"/>
                <a:gd name="T4" fmla="*/ 2 w 30"/>
                <a:gd name="T5" fmla="*/ 20 h 30"/>
                <a:gd name="T6" fmla="*/ 2 w 30"/>
                <a:gd name="T7" fmla="*/ 28 h 30"/>
                <a:gd name="T8" fmla="*/ 7 w 30"/>
                <a:gd name="T9" fmla="*/ 30 h 30"/>
                <a:gd name="T10" fmla="*/ 11 w 30"/>
                <a:gd name="T11" fmla="*/ 28 h 30"/>
                <a:gd name="T12" fmla="*/ 28 w 30"/>
                <a:gd name="T13" fmla="*/ 11 h 30"/>
                <a:gd name="T14" fmla="*/ 28 w 30"/>
                <a:gd name="T15" fmla="*/ 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0">
                  <a:moveTo>
                    <a:pt x="28" y="3"/>
                  </a:moveTo>
                  <a:cubicBezTo>
                    <a:pt x="26" y="0"/>
                    <a:pt x="22" y="0"/>
                    <a:pt x="20" y="3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22"/>
                    <a:pt x="0" y="26"/>
                    <a:pt x="2" y="28"/>
                  </a:cubicBezTo>
                  <a:cubicBezTo>
                    <a:pt x="4" y="30"/>
                    <a:pt x="5" y="30"/>
                    <a:pt x="7" y="30"/>
                  </a:cubicBezTo>
                  <a:cubicBezTo>
                    <a:pt x="8" y="30"/>
                    <a:pt x="10" y="30"/>
                    <a:pt x="11" y="28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30" y="9"/>
                    <a:pt x="30" y="5"/>
                    <a:pt x="2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31">
              <a:extLst>
                <a:ext uri="{FF2B5EF4-FFF2-40B4-BE49-F238E27FC236}">
                  <a16:creationId xmlns:a16="http://schemas.microsoft.com/office/drawing/2014/main" id="{CB98DFA0-18C8-45CF-87AD-58123BB38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1" y="1920"/>
              <a:ext cx="54" cy="53"/>
            </a:xfrm>
            <a:custGeom>
              <a:avLst/>
              <a:gdLst>
                <a:gd name="T0" fmla="*/ 28 w 30"/>
                <a:gd name="T1" fmla="*/ 28 h 30"/>
                <a:gd name="T2" fmla="*/ 28 w 30"/>
                <a:gd name="T3" fmla="*/ 20 h 30"/>
                <a:gd name="T4" fmla="*/ 10 w 30"/>
                <a:gd name="T5" fmla="*/ 3 h 30"/>
                <a:gd name="T6" fmla="*/ 2 w 30"/>
                <a:gd name="T7" fmla="*/ 3 h 30"/>
                <a:gd name="T8" fmla="*/ 2 w 30"/>
                <a:gd name="T9" fmla="*/ 11 h 30"/>
                <a:gd name="T10" fmla="*/ 19 w 30"/>
                <a:gd name="T11" fmla="*/ 28 h 30"/>
                <a:gd name="T12" fmla="*/ 23 w 30"/>
                <a:gd name="T13" fmla="*/ 30 h 30"/>
                <a:gd name="T14" fmla="*/ 28 w 30"/>
                <a:gd name="T15" fmla="*/ 2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0">
                  <a:moveTo>
                    <a:pt x="28" y="28"/>
                  </a:moveTo>
                  <a:cubicBezTo>
                    <a:pt x="30" y="26"/>
                    <a:pt x="30" y="22"/>
                    <a:pt x="28" y="20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0"/>
                    <a:pt x="4" y="0"/>
                    <a:pt x="2" y="3"/>
                  </a:cubicBezTo>
                  <a:cubicBezTo>
                    <a:pt x="0" y="5"/>
                    <a:pt x="0" y="9"/>
                    <a:pt x="2" y="11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20" y="30"/>
                    <a:pt x="22" y="30"/>
                    <a:pt x="23" y="30"/>
                  </a:cubicBezTo>
                  <a:cubicBezTo>
                    <a:pt x="25" y="30"/>
                    <a:pt x="26" y="30"/>
                    <a:pt x="2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9" name="Title 4">
            <a:extLst>
              <a:ext uri="{FF2B5EF4-FFF2-40B4-BE49-F238E27FC236}">
                <a16:creationId xmlns:a16="http://schemas.microsoft.com/office/drawing/2014/main" id="{3FCCE2CD-301A-4061-8FA2-9C39B549A440}"/>
              </a:ext>
            </a:extLst>
          </p:cNvPr>
          <p:cNvSpPr txBox="1">
            <a:spLocks/>
          </p:cNvSpPr>
          <p:nvPr/>
        </p:nvSpPr>
        <p:spPr>
          <a:xfrm>
            <a:off x="2114540" y="1741590"/>
            <a:ext cx="1720059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E9002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oduct information</a:t>
            </a:r>
          </a:p>
        </p:txBody>
      </p:sp>
      <p:sp>
        <p:nvSpPr>
          <p:cNvPr id="90" name="Oval 150">
            <a:extLst>
              <a:ext uri="{FF2B5EF4-FFF2-40B4-BE49-F238E27FC236}">
                <a16:creationId xmlns:a16="http://schemas.microsoft.com/office/drawing/2014/main" id="{DC64CE78-B6AA-4462-B103-73FFE24960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933" y="4528211"/>
            <a:ext cx="1533093" cy="15330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91" name="Freeform 9">
            <a:extLst>
              <a:ext uri="{FF2B5EF4-FFF2-40B4-BE49-F238E27FC236}">
                <a16:creationId xmlns:a16="http://schemas.microsoft.com/office/drawing/2014/main" id="{93315253-92B9-47E2-993E-CA7EF4527B47}"/>
              </a:ext>
            </a:extLst>
          </p:cNvPr>
          <p:cNvSpPr>
            <a:spLocks noEditPoints="1"/>
          </p:cNvSpPr>
          <p:nvPr/>
        </p:nvSpPr>
        <p:spPr bwMode="auto">
          <a:xfrm>
            <a:off x="789465" y="4897916"/>
            <a:ext cx="822029" cy="793683"/>
          </a:xfrm>
          <a:custGeom>
            <a:avLst/>
            <a:gdLst>
              <a:gd name="T0" fmla="*/ 212 w 260"/>
              <a:gd name="T1" fmla="*/ 22 h 251"/>
              <a:gd name="T2" fmla="*/ 212 w 260"/>
              <a:gd name="T3" fmla="*/ 0 h 251"/>
              <a:gd name="T4" fmla="*/ 49 w 260"/>
              <a:gd name="T5" fmla="*/ 0 h 251"/>
              <a:gd name="T6" fmla="*/ 49 w 260"/>
              <a:gd name="T7" fmla="*/ 22 h 251"/>
              <a:gd name="T8" fmla="*/ 0 w 260"/>
              <a:gd name="T9" fmla="*/ 22 h 251"/>
              <a:gd name="T10" fmla="*/ 0 w 260"/>
              <a:gd name="T11" fmla="*/ 86 h 251"/>
              <a:gd name="T12" fmla="*/ 55 w 260"/>
              <a:gd name="T13" fmla="*/ 150 h 251"/>
              <a:gd name="T14" fmla="*/ 124 w 260"/>
              <a:gd name="T15" fmla="*/ 200 h 251"/>
              <a:gd name="T16" fmla="*/ 124 w 260"/>
              <a:gd name="T17" fmla="*/ 227 h 251"/>
              <a:gd name="T18" fmla="*/ 79 w 260"/>
              <a:gd name="T19" fmla="*/ 227 h 251"/>
              <a:gd name="T20" fmla="*/ 63 w 260"/>
              <a:gd name="T21" fmla="*/ 243 h 251"/>
              <a:gd name="T22" fmla="*/ 63 w 260"/>
              <a:gd name="T23" fmla="*/ 251 h 251"/>
              <a:gd name="T24" fmla="*/ 198 w 260"/>
              <a:gd name="T25" fmla="*/ 251 h 251"/>
              <a:gd name="T26" fmla="*/ 198 w 260"/>
              <a:gd name="T27" fmla="*/ 243 h 251"/>
              <a:gd name="T28" fmla="*/ 181 w 260"/>
              <a:gd name="T29" fmla="*/ 227 h 251"/>
              <a:gd name="T30" fmla="*/ 136 w 260"/>
              <a:gd name="T31" fmla="*/ 227 h 251"/>
              <a:gd name="T32" fmla="*/ 136 w 260"/>
              <a:gd name="T33" fmla="*/ 200 h 251"/>
              <a:gd name="T34" fmla="*/ 206 w 260"/>
              <a:gd name="T35" fmla="*/ 150 h 251"/>
              <a:gd name="T36" fmla="*/ 260 w 260"/>
              <a:gd name="T37" fmla="*/ 86 h 251"/>
              <a:gd name="T38" fmla="*/ 260 w 260"/>
              <a:gd name="T39" fmla="*/ 22 h 251"/>
              <a:gd name="T40" fmla="*/ 212 w 260"/>
              <a:gd name="T41" fmla="*/ 22 h 251"/>
              <a:gd name="T42" fmla="*/ 12 w 260"/>
              <a:gd name="T43" fmla="*/ 86 h 251"/>
              <a:gd name="T44" fmla="*/ 12 w 260"/>
              <a:gd name="T45" fmla="*/ 34 h 251"/>
              <a:gd name="T46" fmla="*/ 49 w 260"/>
              <a:gd name="T47" fmla="*/ 34 h 251"/>
              <a:gd name="T48" fmla="*/ 49 w 260"/>
              <a:gd name="T49" fmla="*/ 123 h 251"/>
              <a:gd name="T50" fmla="*/ 49 w 260"/>
              <a:gd name="T51" fmla="*/ 123 h 251"/>
              <a:gd name="T52" fmla="*/ 51 w 260"/>
              <a:gd name="T53" fmla="*/ 136 h 251"/>
              <a:gd name="T54" fmla="*/ 12 w 260"/>
              <a:gd name="T55" fmla="*/ 86 h 251"/>
              <a:gd name="T56" fmla="*/ 130 w 260"/>
              <a:gd name="T57" fmla="*/ 184 h 251"/>
              <a:gd name="T58" fmla="*/ 130 w 260"/>
              <a:gd name="T59" fmla="*/ 184 h 251"/>
              <a:gd name="T60" fmla="*/ 65 w 260"/>
              <a:gd name="T61" fmla="*/ 119 h 251"/>
              <a:gd name="T62" fmla="*/ 69 w 260"/>
              <a:gd name="T63" fmla="*/ 115 h 251"/>
              <a:gd name="T64" fmla="*/ 69 w 260"/>
              <a:gd name="T65" fmla="*/ 115 h 251"/>
              <a:gd name="T66" fmla="*/ 73 w 260"/>
              <a:gd name="T67" fmla="*/ 119 h 251"/>
              <a:gd name="T68" fmla="*/ 130 w 260"/>
              <a:gd name="T69" fmla="*/ 176 h 251"/>
              <a:gd name="T70" fmla="*/ 130 w 260"/>
              <a:gd name="T71" fmla="*/ 176 h 251"/>
              <a:gd name="T72" fmla="*/ 134 w 260"/>
              <a:gd name="T73" fmla="*/ 180 h 251"/>
              <a:gd name="T74" fmla="*/ 130 w 260"/>
              <a:gd name="T75" fmla="*/ 184 h 251"/>
              <a:gd name="T76" fmla="*/ 248 w 260"/>
              <a:gd name="T77" fmla="*/ 85 h 251"/>
              <a:gd name="T78" fmla="*/ 210 w 260"/>
              <a:gd name="T79" fmla="*/ 136 h 251"/>
              <a:gd name="T80" fmla="*/ 211 w 260"/>
              <a:gd name="T81" fmla="*/ 123 h 251"/>
              <a:gd name="T82" fmla="*/ 212 w 260"/>
              <a:gd name="T83" fmla="*/ 123 h 251"/>
              <a:gd name="T84" fmla="*/ 212 w 260"/>
              <a:gd name="T85" fmla="*/ 34 h 251"/>
              <a:gd name="T86" fmla="*/ 248 w 260"/>
              <a:gd name="T87" fmla="*/ 34 h 251"/>
              <a:gd name="T88" fmla="*/ 248 w 260"/>
              <a:gd name="T89" fmla="*/ 85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60" h="251">
                <a:moveTo>
                  <a:pt x="212" y="22"/>
                </a:moveTo>
                <a:cubicBezTo>
                  <a:pt x="212" y="0"/>
                  <a:pt x="212" y="0"/>
                  <a:pt x="212" y="0"/>
                </a:cubicBezTo>
                <a:cubicBezTo>
                  <a:pt x="49" y="0"/>
                  <a:pt x="49" y="0"/>
                  <a:pt x="49" y="0"/>
                </a:cubicBezTo>
                <a:cubicBezTo>
                  <a:pt x="49" y="22"/>
                  <a:pt x="49" y="22"/>
                  <a:pt x="49" y="22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86"/>
                  <a:pt x="0" y="86"/>
                  <a:pt x="0" y="86"/>
                </a:cubicBezTo>
                <a:cubicBezTo>
                  <a:pt x="2" y="118"/>
                  <a:pt x="25" y="144"/>
                  <a:pt x="55" y="150"/>
                </a:cubicBezTo>
                <a:cubicBezTo>
                  <a:pt x="66" y="178"/>
                  <a:pt x="93" y="198"/>
                  <a:pt x="124" y="200"/>
                </a:cubicBezTo>
                <a:cubicBezTo>
                  <a:pt x="124" y="227"/>
                  <a:pt x="124" y="227"/>
                  <a:pt x="124" y="227"/>
                </a:cubicBezTo>
                <a:cubicBezTo>
                  <a:pt x="79" y="227"/>
                  <a:pt x="79" y="227"/>
                  <a:pt x="79" y="227"/>
                </a:cubicBezTo>
                <a:cubicBezTo>
                  <a:pt x="70" y="227"/>
                  <a:pt x="63" y="234"/>
                  <a:pt x="63" y="243"/>
                </a:cubicBezTo>
                <a:cubicBezTo>
                  <a:pt x="63" y="251"/>
                  <a:pt x="63" y="251"/>
                  <a:pt x="63" y="251"/>
                </a:cubicBezTo>
                <a:cubicBezTo>
                  <a:pt x="198" y="251"/>
                  <a:pt x="198" y="251"/>
                  <a:pt x="198" y="251"/>
                </a:cubicBezTo>
                <a:cubicBezTo>
                  <a:pt x="198" y="243"/>
                  <a:pt x="198" y="243"/>
                  <a:pt x="198" y="243"/>
                </a:cubicBezTo>
                <a:cubicBezTo>
                  <a:pt x="198" y="234"/>
                  <a:pt x="190" y="227"/>
                  <a:pt x="181" y="227"/>
                </a:cubicBezTo>
                <a:cubicBezTo>
                  <a:pt x="136" y="227"/>
                  <a:pt x="136" y="227"/>
                  <a:pt x="136" y="227"/>
                </a:cubicBezTo>
                <a:cubicBezTo>
                  <a:pt x="136" y="200"/>
                  <a:pt x="136" y="200"/>
                  <a:pt x="136" y="200"/>
                </a:cubicBezTo>
                <a:cubicBezTo>
                  <a:pt x="168" y="198"/>
                  <a:pt x="194" y="178"/>
                  <a:pt x="206" y="150"/>
                </a:cubicBezTo>
                <a:cubicBezTo>
                  <a:pt x="236" y="144"/>
                  <a:pt x="259" y="118"/>
                  <a:pt x="260" y="86"/>
                </a:cubicBezTo>
                <a:cubicBezTo>
                  <a:pt x="260" y="22"/>
                  <a:pt x="260" y="22"/>
                  <a:pt x="260" y="22"/>
                </a:cubicBezTo>
                <a:lnTo>
                  <a:pt x="212" y="22"/>
                </a:lnTo>
                <a:close/>
                <a:moveTo>
                  <a:pt x="12" y="86"/>
                </a:moveTo>
                <a:cubicBezTo>
                  <a:pt x="12" y="34"/>
                  <a:pt x="12" y="34"/>
                  <a:pt x="12" y="34"/>
                </a:cubicBezTo>
                <a:cubicBezTo>
                  <a:pt x="49" y="34"/>
                  <a:pt x="49" y="34"/>
                  <a:pt x="49" y="34"/>
                </a:cubicBezTo>
                <a:cubicBezTo>
                  <a:pt x="49" y="123"/>
                  <a:pt x="49" y="123"/>
                  <a:pt x="49" y="123"/>
                </a:cubicBezTo>
                <a:cubicBezTo>
                  <a:pt x="49" y="123"/>
                  <a:pt x="49" y="123"/>
                  <a:pt x="49" y="123"/>
                </a:cubicBezTo>
                <a:cubicBezTo>
                  <a:pt x="49" y="127"/>
                  <a:pt x="50" y="132"/>
                  <a:pt x="51" y="136"/>
                </a:cubicBezTo>
                <a:cubicBezTo>
                  <a:pt x="29" y="129"/>
                  <a:pt x="13" y="109"/>
                  <a:pt x="12" y="86"/>
                </a:cubicBezTo>
                <a:close/>
                <a:moveTo>
                  <a:pt x="130" y="184"/>
                </a:moveTo>
                <a:cubicBezTo>
                  <a:pt x="130" y="184"/>
                  <a:pt x="130" y="184"/>
                  <a:pt x="130" y="184"/>
                </a:cubicBezTo>
                <a:cubicBezTo>
                  <a:pt x="94" y="184"/>
                  <a:pt x="65" y="155"/>
                  <a:pt x="65" y="119"/>
                </a:cubicBezTo>
                <a:cubicBezTo>
                  <a:pt x="65" y="117"/>
                  <a:pt x="67" y="115"/>
                  <a:pt x="69" y="115"/>
                </a:cubicBezTo>
                <a:cubicBezTo>
                  <a:pt x="69" y="115"/>
                  <a:pt x="69" y="115"/>
                  <a:pt x="69" y="115"/>
                </a:cubicBezTo>
                <a:cubicBezTo>
                  <a:pt x="71" y="115"/>
                  <a:pt x="73" y="117"/>
                  <a:pt x="73" y="119"/>
                </a:cubicBezTo>
                <a:cubicBezTo>
                  <a:pt x="73" y="150"/>
                  <a:pt x="99" y="176"/>
                  <a:pt x="130" y="176"/>
                </a:cubicBezTo>
                <a:cubicBezTo>
                  <a:pt x="130" y="176"/>
                  <a:pt x="130" y="176"/>
                  <a:pt x="130" y="176"/>
                </a:cubicBezTo>
                <a:cubicBezTo>
                  <a:pt x="132" y="176"/>
                  <a:pt x="134" y="177"/>
                  <a:pt x="134" y="180"/>
                </a:cubicBezTo>
                <a:cubicBezTo>
                  <a:pt x="134" y="182"/>
                  <a:pt x="132" y="184"/>
                  <a:pt x="130" y="184"/>
                </a:cubicBezTo>
                <a:close/>
                <a:moveTo>
                  <a:pt x="248" y="85"/>
                </a:moveTo>
                <a:cubicBezTo>
                  <a:pt x="247" y="109"/>
                  <a:pt x="231" y="129"/>
                  <a:pt x="210" y="136"/>
                </a:cubicBezTo>
                <a:cubicBezTo>
                  <a:pt x="211" y="132"/>
                  <a:pt x="211" y="127"/>
                  <a:pt x="211" y="123"/>
                </a:cubicBezTo>
                <a:cubicBezTo>
                  <a:pt x="212" y="123"/>
                  <a:pt x="212" y="123"/>
                  <a:pt x="212" y="123"/>
                </a:cubicBezTo>
                <a:cubicBezTo>
                  <a:pt x="212" y="34"/>
                  <a:pt x="212" y="34"/>
                  <a:pt x="212" y="34"/>
                </a:cubicBezTo>
                <a:cubicBezTo>
                  <a:pt x="248" y="34"/>
                  <a:pt x="248" y="34"/>
                  <a:pt x="248" y="34"/>
                </a:cubicBezTo>
                <a:lnTo>
                  <a:pt x="248" y="8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2" name="Title 4">
            <a:extLst>
              <a:ext uri="{FF2B5EF4-FFF2-40B4-BE49-F238E27FC236}">
                <a16:creationId xmlns:a16="http://schemas.microsoft.com/office/drawing/2014/main" id="{94F99BE5-3BDC-40CD-8E61-B011588B712D}"/>
              </a:ext>
            </a:extLst>
          </p:cNvPr>
          <p:cNvSpPr txBox="1">
            <a:spLocks/>
          </p:cNvSpPr>
          <p:nvPr/>
        </p:nvSpPr>
        <p:spPr>
          <a:xfrm>
            <a:off x="2199932" y="5156258"/>
            <a:ext cx="1720059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E9002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otification</a:t>
            </a:r>
          </a:p>
        </p:txBody>
      </p:sp>
      <p:sp>
        <p:nvSpPr>
          <p:cNvPr id="93" name="Oval 150">
            <a:extLst>
              <a:ext uri="{FF2B5EF4-FFF2-40B4-BE49-F238E27FC236}">
                <a16:creationId xmlns:a16="http://schemas.microsoft.com/office/drawing/2014/main" id="{5CF174F4-48A1-418A-9146-00B3899C7A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933" y="2890255"/>
            <a:ext cx="1533093" cy="15330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94" name="Group 16">
            <a:extLst>
              <a:ext uri="{FF2B5EF4-FFF2-40B4-BE49-F238E27FC236}">
                <a16:creationId xmlns:a16="http://schemas.microsoft.com/office/drawing/2014/main" id="{5C021C6B-F651-4C58-949B-91453B9F7D0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9254" y="3253995"/>
            <a:ext cx="802452" cy="805612"/>
            <a:chOff x="3585" y="1906"/>
            <a:chExt cx="508" cy="510"/>
          </a:xfrm>
          <a:solidFill>
            <a:schemeClr val="bg1"/>
          </a:solidFill>
        </p:grpSpPr>
        <p:sp>
          <p:nvSpPr>
            <p:cNvPr id="95" name="Freeform 17">
              <a:extLst>
                <a:ext uri="{FF2B5EF4-FFF2-40B4-BE49-F238E27FC236}">
                  <a16:creationId xmlns:a16="http://schemas.microsoft.com/office/drawing/2014/main" id="{BD4CC3EC-5731-4323-AC20-DDCDCFFB7B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5" y="1906"/>
              <a:ext cx="418" cy="266"/>
            </a:xfrm>
            <a:custGeom>
              <a:avLst/>
              <a:gdLst>
                <a:gd name="T0" fmla="*/ 203 w 235"/>
                <a:gd name="T1" fmla="*/ 27 h 149"/>
                <a:gd name="T2" fmla="*/ 198 w 235"/>
                <a:gd name="T3" fmla="*/ 36 h 149"/>
                <a:gd name="T4" fmla="*/ 198 w 235"/>
                <a:gd name="T5" fmla="*/ 37 h 149"/>
                <a:gd name="T6" fmla="*/ 199 w 235"/>
                <a:gd name="T7" fmla="*/ 37 h 149"/>
                <a:gd name="T8" fmla="*/ 199 w 235"/>
                <a:gd name="T9" fmla="*/ 37 h 149"/>
                <a:gd name="T10" fmla="*/ 234 w 235"/>
                <a:gd name="T11" fmla="*/ 37 h 149"/>
                <a:gd name="T12" fmla="*/ 234 w 235"/>
                <a:gd name="T13" fmla="*/ 36 h 149"/>
                <a:gd name="T14" fmla="*/ 234 w 235"/>
                <a:gd name="T15" fmla="*/ 35 h 149"/>
                <a:gd name="T16" fmla="*/ 216 w 235"/>
                <a:gd name="T17" fmla="*/ 6 h 149"/>
                <a:gd name="T18" fmla="*/ 216 w 235"/>
                <a:gd name="T19" fmla="*/ 5 h 149"/>
                <a:gd name="T20" fmla="*/ 216 w 235"/>
                <a:gd name="T21" fmla="*/ 5 h 149"/>
                <a:gd name="T22" fmla="*/ 215 w 235"/>
                <a:gd name="T23" fmla="*/ 6 h 149"/>
                <a:gd name="T24" fmla="*/ 209 w 235"/>
                <a:gd name="T25" fmla="*/ 16 h 149"/>
                <a:gd name="T26" fmla="*/ 143 w 235"/>
                <a:gd name="T27" fmla="*/ 0 h 149"/>
                <a:gd name="T28" fmla="*/ 0 w 235"/>
                <a:gd name="T29" fmla="*/ 143 h 149"/>
                <a:gd name="T30" fmla="*/ 6 w 235"/>
                <a:gd name="T31" fmla="*/ 149 h 149"/>
                <a:gd name="T32" fmla="*/ 12 w 235"/>
                <a:gd name="T33" fmla="*/ 143 h 149"/>
                <a:gd name="T34" fmla="*/ 143 w 235"/>
                <a:gd name="T35" fmla="*/ 12 h 149"/>
                <a:gd name="T36" fmla="*/ 203 w 235"/>
                <a:gd name="T37" fmla="*/ 2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5" h="149">
                  <a:moveTo>
                    <a:pt x="203" y="27"/>
                  </a:moveTo>
                  <a:cubicBezTo>
                    <a:pt x="198" y="36"/>
                    <a:pt x="198" y="36"/>
                    <a:pt x="198" y="36"/>
                  </a:cubicBezTo>
                  <a:cubicBezTo>
                    <a:pt x="198" y="36"/>
                    <a:pt x="198" y="37"/>
                    <a:pt x="198" y="37"/>
                  </a:cubicBezTo>
                  <a:cubicBezTo>
                    <a:pt x="198" y="37"/>
                    <a:pt x="198" y="37"/>
                    <a:pt x="199" y="37"/>
                  </a:cubicBezTo>
                  <a:cubicBezTo>
                    <a:pt x="199" y="37"/>
                    <a:pt x="199" y="37"/>
                    <a:pt x="199" y="37"/>
                  </a:cubicBezTo>
                  <a:cubicBezTo>
                    <a:pt x="234" y="37"/>
                    <a:pt x="234" y="37"/>
                    <a:pt x="234" y="37"/>
                  </a:cubicBezTo>
                  <a:cubicBezTo>
                    <a:pt x="234" y="37"/>
                    <a:pt x="234" y="37"/>
                    <a:pt x="234" y="36"/>
                  </a:cubicBezTo>
                  <a:cubicBezTo>
                    <a:pt x="235" y="36"/>
                    <a:pt x="235" y="36"/>
                    <a:pt x="234" y="35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216" y="5"/>
                    <a:pt x="216" y="5"/>
                    <a:pt x="216" y="5"/>
                  </a:cubicBezTo>
                  <a:cubicBezTo>
                    <a:pt x="216" y="5"/>
                    <a:pt x="216" y="5"/>
                    <a:pt x="216" y="5"/>
                  </a:cubicBezTo>
                  <a:cubicBezTo>
                    <a:pt x="215" y="5"/>
                    <a:pt x="215" y="5"/>
                    <a:pt x="215" y="6"/>
                  </a:cubicBezTo>
                  <a:cubicBezTo>
                    <a:pt x="209" y="16"/>
                    <a:pt x="209" y="16"/>
                    <a:pt x="209" y="16"/>
                  </a:cubicBezTo>
                  <a:cubicBezTo>
                    <a:pt x="189" y="6"/>
                    <a:pt x="166" y="0"/>
                    <a:pt x="143" y="0"/>
                  </a:cubicBezTo>
                  <a:cubicBezTo>
                    <a:pt x="64" y="0"/>
                    <a:pt x="0" y="64"/>
                    <a:pt x="0" y="143"/>
                  </a:cubicBezTo>
                  <a:cubicBezTo>
                    <a:pt x="0" y="146"/>
                    <a:pt x="3" y="149"/>
                    <a:pt x="6" y="149"/>
                  </a:cubicBezTo>
                  <a:cubicBezTo>
                    <a:pt x="9" y="149"/>
                    <a:pt x="12" y="146"/>
                    <a:pt x="12" y="143"/>
                  </a:cubicBezTo>
                  <a:cubicBezTo>
                    <a:pt x="12" y="71"/>
                    <a:pt x="71" y="12"/>
                    <a:pt x="143" y="12"/>
                  </a:cubicBezTo>
                  <a:cubicBezTo>
                    <a:pt x="164" y="12"/>
                    <a:pt x="185" y="17"/>
                    <a:pt x="203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Freeform 18">
              <a:extLst>
                <a:ext uri="{FF2B5EF4-FFF2-40B4-BE49-F238E27FC236}">
                  <a16:creationId xmlns:a16="http://schemas.microsoft.com/office/drawing/2014/main" id="{5384E77B-0F9F-40A0-8C49-F1FA6FDEB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6" y="2150"/>
              <a:ext cx="417" cy="266"/>
            </a:xfrm>
            <a:custGeom>
              <a:avLst/>
              <a:gdLst>
                <a:gd name="T0" fmla="*/ 229 w 235"/>
                <a:gd name="T1" fmla="*/ 0 h 149"/>
                <a:gd name="T2" fmla="*/ 223 w 235"/>
                <a:gd name="T3" fmla="*/ 6 h 149"/>
                <a:gd name="T4" fmla="*/ 92 w 235"/>
                <a:gd name="T5" fmla="*/ 137 h 149"/>
                <a:gd name="T6" fmla="*/ 31 w 235"/>
                <a:gd name="T7" fmla="*/ 122 h 149"/>
                <a:gd name="T8" fmla="*/ 30 w 235"/>
                <a:gd name="T9" fmla="*/ 122 h 149"/>
                <a:gd name="T10" fmla="*/ 36 w 235"/>
                <a:gd name="T11" fmla="*/ 111 h 149"/>
                <a:gd name="T12" fmla="*/ 36 w 235"/>
                <a:gd name="T13" fmla="*/ 110 h 149"/>
                <a:gd name="T14" fmla="*/ 35 w 235"/>
                <a:gd name="T15" fmla="*/ 110 h 149"/>
                <a:gd name="T16" fmla="*/ 35 w 235"/>
                <a:gd name="T17" fmla="*/ 110 h 149"/>
                <a:gd name="T18" fmla="*/ 1 w 235"/>
                <a:gd name="T19" fmla="*/ 110 h 149"/>
                <a:gd name="T20" fmla="*/ 0 w 235"/>
                <a:gd name="T21" fmla="*/ 111 h 149"/>
                <a:gd name="T22" fmla="*/ 0 w 235"/>
                <a:gd name="T23" fmla="*/ 112 h 149"/>
                <a:gd name="T24" fmla="*/ 18 w 235"/>
                <a:gd name="T25" fmla="*/ 142 h 149"/>
                <a:gd name="T26" fmla="*/ 18 w 235"/>
                <a:gd name="T27" fmla="*/ 142 h 149"/>
                <a:gd name="T28" fmla="*/ 19 w 235"/>
                <a:gd name="T29" fmla="*/ 142 h 149"/>
                <a:gd name="T30" fmla="*/ 19 w 235"/>
                <a:gd name="T31" fmla="*/ 142 h 149"/>
                <a:gd name="T32" fmla="*/ 25 w 235"/>
                <a:gd name="T33" fmla="*/ 132 h 149"/>
                <a:gd name="T34" fmla="*/ 25 w 235"/>
                <a:gd name="T35" fmla="*/ 132 h 149"/>
                <a:gd name="T36" fmla="*/ 92 w 235"/>
                <a:gd name="T37" fmla="*/ 149 h 149"/>
                <a:gd name="T38" fmla="*/ 235 w 235"/>
                <a:gd name="T39" fmla="*/ 6 h 149"/>
                <a:gd name="T40" fmla="*/ 229 w 235"/>
                <a:gd name="T4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5" h="149">
                  <a:moveTo>
                    <a:pt x="229" y="0"/>
                  </a:moveTo>
                  <a:cubicBezTo>
                    <a:pt x="226" y="0"/>
                    <a:pt x="223" y="3"/>
                    <a:pt x="223" y="6"/>
                  </a:cubicBezTo>
                  <a:cubicBezTo>
                    <a:pt x="223" y="78"/>
                    <a:pt x="164" y="137"/>
                    <a:pt x="92" y="137"/>
                  </a:cubicBezTo>
                  <a:cubicBezTo>
                    <a:pt x="71" y="137"/>
                    <a:pt x="49" y="132"/>
                    <a:pt x="31" y="122"/>
                  </a:cubicBezTo>
                  <a:cubicBezTo>
                    <a:pt x="31" y="122"/>
                    <a:pt x="31" y="122"/>
                    <a:pt x="30" y="122"/>
                  </a:cubicBezTo>
                  <a:cubicBezTo>
                    <a:pt x="36" y="111"/>
                    <a:pt x="36" y="111"/>
                    <a:pt x="36" y="111"/>
                  </a:cubicBezTo>
                  <a:cubicBezTo>
                    <a:pt x="36" y="111"/>
                    <a:pt x="36" y="110"/>
                    <a:pt x="36" y="110"/>
                  </a:cubicBezTo>
                  <a:cubicBezTo>
                    <a:pt x="36" y="110"/>
                    <a:pt x="36" y="110"/>
                    <a:pt x="35" y="110"/>
                  </a:cubicBezTo>
                  <a:cubicBezTo>
                    <a:pt x="35" y="110"/>
                    <a:pt x="35" y="110"/>
                    <a:pt x="35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0" y="110"/>
                    <a:pt x="0" y="110"/>
                    <a:pt x="0" y="111"/>
                  </a:cubicBezTo>
                  <a:cubicBezTo>
                    <a:pt x="0" y="111"/>
                    <a:pt x="0" y="111"/>
                    <a:pt x="0" y="112"/>
                  </a:cubicBezTo>
                  <a:cubicBezTo>
                    <a:pt x="18" y="142"/>
                    <a:pt x="18" y="142"/>
                    <a:pt x="18" y="142"/>
                  </a:cubicBezTo>
                  <a:cubicBezTo>
                    <a:pt x="18" y="142"/>
                    <a:pt x="18" y="142"/>
                    <a:pt x="18" y="142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25" y="132"/>
                    <a:pt x="25" y="132"/>
                    <a:pt x="25" y="132"/>
                  </a:cubicBezTo>
                  <a:cubicBezTo>
                    <a:pt x="25" y="132"/>
                    <a:pt x="25" y="132"/>
                    <a:pt x="25" y="132"/>
                  </a:cubicBezTo>
                  <a:cubicBezTo>
                    <a:pt x="46" y="143"/>
                    <a:pt x="69" y="149"/>
                    <a:pt x="92" y="149"/>
                  </a:cubicBezTo>
                  <a:cubicBezTo>
                    <a:pt x="171" y="149"/>
                    <a:pt x="235" y="85"/>
                    <a:pt x="235" y="6"/>
                  </a:cubicBezTo>
                  <a:cubicBezTo>
                    <a:pt x="235" y="3"/>
                    <a:pt x="232" y="0"/>
                    <a:pt x="2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19">
              <a:extLst>
                <a:ext uri="{FF2B5EF4-FFF2-40B4-BE49-F238E27FC236}">
                  <a16:creationId xmlns:a16="http://schemas.microsoft.com/office/drawing/2014/main" id="{D0FFCF0D-1308-4B1B-99BF-1983E4C50B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8" y="2009"/>
              <a:ext cx="302" cy="303"/>
            </a:xfrm>
            <a:custGeom>
              <a:avLst/>
              <a:gdLst>
                <a:gd name="T0" fmla="*/ 161 w 170"/>
                <a:gd name="T1" fmla="*/ 123 h 170"/>
                <a:gd name="T2" fmla="*/ 163 w 170"/>
                <a:gd name="T3" fmla="*/ 119 h 170"/>
                <a:gd name="T4" fmla="*/ 169 w 170"/>
                <a:gd name="T5" fmla="*/ 92 h 170"/>
                <a:gd name="T6" fmla="*/ 170 w 170"/>
                <a:gd name="T7" fmla="*/ 86 h 170"/>
                <a:gd name="T8" fmla="*/ 157 w 170"/>
                <a:gd name="T9" fmla="*/ 78 h 170"/>
                <a:gd name="T10" fmla="*/ 154 w 170"/>
                <a:gd name="T11" fmla="*/ 62 h 170"/>
                <a:gd name="T12" fmla="*/ 161 w 170"/>
                <a:gd name="T13" fmla="*/ 49 h 170"/>
                <a:gd name="T14" fmla="*/ 159 w 170"/>
                <a:gd name="T15" fmla="*/ 44 h 170"/>
                <a:gd name="T16" fmla="*/ 142 w 170"/>
                <a:gd name="T17" fmla="*/ 22 h 170"/>
                <a:gd name="T18" fmla="*/ 138 w 170"/>
                <a:gd name="T19" fmla="*/ 19 h 170"/>
                <a:gd name="T20" fmla="*/ 124 w 170"/>
                <a:gd name="T21" fmla="*/ 23 h 170"/>
                <a:gd name="T22" fmla="*/ 109 w 170"/>
                <a:gd name="T23" fmla="*/ 16 h 170"/>
                <a:gd name="T24" fmla="*/ 103 w 170"/>
                <a:gd name="T25" fmla="*/ 2 h 170"/>
                <a:gd name="T26" fmla="*/ 98 w 170"/>
                <a:gd name="T27" fmla="*/ 1 h 170"/>
                <a:gd name="T28" fmla="*/ 85 w 170"/>
                <a:gd name="T29" fmla="*/ 0 h 170"/>
                <a:gd name="T30" fmla="*/ 72 w 170"/>
                <a:gd name="T31" fmla="*/ 1 h 170"/>
                <a:gd name="T32" fmla="*/ 67 w 170"/>
                <a:gd name="T33" fmla="*/ 2 h 170"/>
                <a:gd name="T34" fmla="*/ 61 w 170"/>
                <a:gd name="T35" fmla="*/ 16 h 170"/>
                <a:gd name="T36" fmla="*/ 46 w 170"/>
                <a:gd name="T37" fmla="*/ 23 h 170"/>
                <a:gd name="T38" fmla="*/ 32 w 170"/>
                <a:gd name="T39" fmla="*/ 19 h 170"/>
                <a:gd name="T40" fmla="*/ 28 w 170"/>
                <a:gd name="T41" fmla="*/ 22 h 170"/>
                <a:gd name="T42" fmla="*/ 11 w 170"/>
                <a:gd name="T43" fmla="*/ 44 h 170"/>
                <a:gd name="T44" fmla="*/ 9 w 170"/>
                <a:gd name="T45" fmla="*/ 49 h 170"/>
                <a:gd name="T46" fmla="*/ 16 w 170"/>
                <a:gd name="T47" fmla="*/ 62 h 170"/>
                <a:gd name="T48" fmla="*/ 12 w 170"/>
                <a:gd name="T49" fmla="*/ 78 h 170"/>
                <a:gd name="T50" fmla="*/ 0 w 170"/>
                <a:gd name="T51" fmla="*/ 86 h 170"/>
                <a:gd name="T52" fmla="*/ 0 w 170"/>
                <a:gd name="T53" fmla="*/ 92 h 170"/>
                <a:gd name="T54" fmla="*/ 7 w 170"/>
                <a:gd name="T55" fmla="*/ 119 h 170"/>
                <a:gd name="T56" fmla="*/ 9 w 170"/>
                <a:gd name="T57" fmla="*/ 123 h 170"/>
                <a:gd name="T58" fmla="*/ 23 w 170"/>
                <a:gd name="T59" fmla="*/ 125 h 170"/>
                <a:gd name="T60" fmla="*/ 33 w 170"/>
                <a:gd name="T61" fmla="*/ 139 h 170"/>
                <a:gd name="T62" fmla="*/ 33 w 170"/>
                <a:gd name="T63" fmla="*/ 153 h 170"/>
                <a:gd name="T64" fmla="*/ 37 w 170"/>
                <a:gd name="T65" fmla="*/ 156 h 170"/>
                <a:gd name="T66" fmla="*/ 62 w 170"/>
                <a:gd name="T67" fmla="*/ 169 h 170"/>
                <a:gd name="T68" fmla="*/ 67 w 170"/>
                <a:gd name="T69" fmla="*/ 170 h 170"/>
                <a:gd name="T70" fmla="*/ 78 w 170"/>
                <a:gd name="T71" fmla="*/ 159 h 170"/>
                <a:gd name="T72" fmla="*/ 85 w 170"/>
                <a:gd name="T73" fmla="*/ 160 h 170"/>
                <a:gd name="T74" fmla="*/ 92 w 170"/>
                <a:gd name="T75" fmla="*/ 159 h 170"/>
                <a:gd name="T76" fmla="*/ 103 w 170"/>
                <a:gd name="T77" fmla="*/ 170 h 170"/>
                <a:gd name="T78" fmla="*/ 108 w 170"/>
                <a:gd name="T79" fmla="*/ 169 h 170"/>
                <a:gd name="T80" fmla="*/ 133 w 170"/>
                <a:gd name="T81" fmla="*/ 156 h 170"/>
                <a:gd name="T82" fmla="*/ 137 w 170"/>
                <a:gd name="T83" fmla="*/ 153 h 170"/>
                <a:gd name="T84" fmla="*/ 136 w 170"/>
                <a:gd name="T85" fmla="*/ 139 h 170"/>
                <a:gd name="T86" fmla="*/ 146 w 170"/>
                <a:gd name="T87" fmla="*/ 125 h 170"/>
                <a:gd name="T88" fmla="*/ 161 w 170"/>
                <a:gd name="T89" fmla="*/ 123 h 170"/>
                <a:gd name="T90" fmla="*/ 85 w 170"/>
                <a:gd name="T91" fmla="*/ 127 h 170"/>
                <a:gd name="T92" fmla="*/ 42 w 170"/>
                <a:gd name="T93" fmla="*/ 84 h 170"/>
                <a:gd name="T94" fmla="*/ 85 w 170"/>
                <a:gd name="T95" fmla="*/ 42 h 170"/>
                <a:gd name="T96" fmla="*/ 127 w 170"/>
                <a:gd name="T97" fmla="*/ 84 h 170"/>
                <a:gd name="T98" fmla="*/ 85 w 170"/>
                <a:gd name="T99" fmla="*/ 127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70" h="170">
                  <a:moveTo>
                    <a:pt x="161" y="123"/>
                  </a:moveTo>
                  <a:cubicBezTo>
                    <a:pt x="163" y="119"/>
                    <a:pt x="163" y="119"/>
                    <a:pt x="163" y="119"/>
                  </a:cubicBezTo>
                  <a:cubicBezTo>
                    <a:pt x="167" y="109"/>
                    <a:pt x="169" y="100"/>
                    <a:pt x="169" y="92"/>
                  </a:cubicBezTo>
                  <a:cubicBezTo>
                    <a:pt x="170" y="86"/>
                    <a:pt x="170" y="86"/>
                    <a:pt x="170" y="86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57" y="73"/>
                    <a:pt x="155" y="67"/>
                    <a:pt x="154" y="62"/>
                  </a:cubicBezTo>
                  <a:cubicBezTo>
                    <a:pt x="161" y="49"/>
                    <a:pt x="161" y="49"/>
                    <a:pt x="161" y="49"/>
                  </a:cubicBezTo>
                  <a:cubicBezTo>
                    <a:pt x="159" y="44"/>
                    <a:pt x="159" y="44"/>
                    <a:pt x="159" y="44"/>
                  </a:cubicBezTo>
                  <a:cubicBezTo>
                    <a:pt x="155" y="36"/>
                    <a:pt x="149" y="29"/>
                    <a:pt x="142" y="22"/>
                  </a:cubicBezTo>
                  <a:cubicBezTo>
                    <a:pt x="138" y="19"/>
                    <a:pt x="138" y="19"/>
                    <a:pt x="138" y="19"/>
                  </a:cubicBezTo>
                  <a:cubicBezTo>
                    <a:pt x="124" y="23"/>
                    <a:pt x="124" y="23"/>
                    <a:pt x="124" y="23"/>
                  </a:cubicBezTo>
                  <a:cubicBezTo>
                    <a:pt x="119" y="20"/>
                    <a:pt x="114" y="18"/>
                    <a:pt x="109" y="16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98" y="1"/>
                    <a:pt x="98" y="1"/>
                    <a:pt x="98" y="1"/>
                  </a:cubicBezTo>
                  <a:cubicBezTo>
                    <a:pt x="94" y="0"/>
                    <a:pt x="89" y="0"/>
                    <a:pt x="85" y="0"/>
                  </a:cubicBezTo>
                  <a:cubicBezTo>
                    <a:pt x="80" y="0"/>
                    <a:pt x="76" y="0"/>
                    <a:pt x="72" y="1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56" y="18"/>
                    <a:pt x="51" y="20"/>
                    <a:pt x="46" y="23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1" y="29"/>
                    <a:pt x="15" y="36"/>
                    <a:pt x="11" y="44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4" y="67"/>
                    <a:pt x="13" y="73"/>
                    <a:pt x="12" y="7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1" y="100"/>
                    <a:pt x="2" y="109"/>
                    <a:pt x="7" y="119"/>
                  </a:cubicBezTo>
                  <a:cubicBezTo>
                    <a:pt x="9" y="123"/>
                    <a:pt x="9" y="123"/>
                    <a:pt x="9" y="123"/>
                  </a:cubicBezTo>
                  <a:cubicBezTo>
                    <a:pt x="23" y="125"/>
                    <a:pt x="23" y="125"/>
                    <a:pt x="23" y="125"/>
                  </a:cubicBezTo>
                  <a:cubicBezTo>
                    <a:pt x="27" y="131"/>
                    <a:pt x="30" y="135"/>
                    <a:pt x="33" y="139"/>
                  </a:cubicBezTo>
                  <a:cubicBezTo>
                    <a:pt x="33" y="153"/>
                    <a:pt x="33" y="153"/>
                    <a:pt x="33" y="153"/>
                  </a:cubicBezTo>
                  <a:cubicBezTo>
                    <a:pt x="37" y="156"/>
                    <a:pt x="37" y="156"/>
                    <a:pt x="37" y="156"/>
                  </a:cubicBezTo>
                  <a:cubicBezTo>
                    <a:pt x="44" y="162"/>
                    <a:pt x="52" y="166"/>
                    <a:pt x="62" y="169"/>
                  </a:cubicBezTo>
                  <a:cubicBezTo>
                    <a:pt x="67" y="170"/>
                    <a:pt x="67" y="170"/>
                    <a:pt x="67" y="170"/>
                  </a:cubicBezTo>
                  <a:cubicBezTo>
                    <a:pt x="78" y="159"/>
                    <a:pt x="78" y="159"/>
                    <a:pt x="78" y="159"/>
                  </a:cubicBezTo>
                  <a:cubicBezTo>
                    <a:pt x="80" y="160"/>
                    <a:pt x="83" y="160"/>
                    <a:pt x="85" y="160"/>
                  </a:cubicBezTo>
                  <a:cubicBezTo>
                    <a:pt x="87" y="160"/>
                    <a:pt x="90" y="160"/>
                    <a:pt x="92" y="159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8" y="169"/>
                    <a:pt x="108" y="169"/>
                    <a:pt x="108" y="169"/>
                  </a:cubicBezTo>
                  <a:cubicBezTo>
                    <a:pt x="118" y="166"/>
                    <a:pt x="126" y="162"/>
                    <a:pt x="133" y="156"/>
                  </a:cubicBezTo>
                  <a:cubicBezTo>
                    <a:pt x="137" y="153"/>
                    <a:pt x="137" y="153"/>
                    <a:pt x="137" y="153"/>
                  </a:cubicBezTo>
                  <a:cubicBezTo>
                    <a:pt x="136" y="139"/>
                    <a:pt x="136" y="139"/>
                    <a:pt x="136" y="139"/>
                  </a:cubicBezTo>
                  <a:cubicBezTo>
                    <a:pt x="140" y="135"/>
                    <a:pt x="143" y="131"/>
                    <a:pt x="146" y="125"/>
                  </a:cubicBezTo>
                  <a:lnTo>
                    <a:pt x="161" y="123"/>
                  </a:lnTo>
                  <a:close/>
                  <a:moveTo>
                    <a:pt x="85" y="127"/>
                  </a:moveTo>
                  <a:cubicBezTo>
                    <a:pt x="62" y="127"/>
                    <a:pt x="42" y="108"/>
                    <a:pt x="42" y="84"/>
                  </a:cubicBezTo>
                  <a:cubicBezTo>
                    <a:pt x="42" y="61"/>
                    <a:pt x="62" y="42"/>
                    <a:pt x="85" y="42"/>
                  </a:cubicBezTo>
                  <a:cubicBezTo>
                    <a:pt x="108" y="42"/>
                    <a:pt x="127" y="61"/>
                    <a:pt x="127" y="84"/>
                  </a:cubicBezTo>
                  <a:cubicBezTo>
                    <a:pt x="127" y="108"/>
                    <a:pt x="108" y="127"/>
                    <a:pt x="85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98" name="Title 4">
            <a:extLst>
              <a:ext uri="{FF2B5EF4-FFF2-40B4-BE49-F238E27FC236}">
                <a16:creationId xmlns:a16="http://schemas.microsoft.com/office/drawing/2014/main" id="{D746CAA4-851A-433A-9B2A-B6B276BEA267}"/>
              </a:ext>
            </a:extLst>
          </p:cNvPr>
          <p:cNvSpPr txBox="1">
            <a:spLocks/>
          </p:cNvSpPr>
          <p:nvPr/>
        </p:nvSpPr>
        <p:spPr>
          <a:xfrm>
            <a:off x="2114539" y="3518302"/>
            <a:ext cx="1957689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E9002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alibration</a:t>
            </a:r>
          </a:p>
        </p:txBody>
      </p: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6EEBD428-0084-4B62-B91F-1949398128E0}"/>
              </a:ext>
            </a:extLst>
          </p:cNvPr>
          <p:cNvCxnSpPr>
            <a:cxnSpLocks/>
          </p:cNvCxnSpPr>
          <p:nvPr/>
        </p:nvCxnSpPr>
        <p:spPr>
          <a:xfrm>
            <a:off x="3981618" y="3109582"/>
            <a:ext cx="0" cy="1094439"/>
          </a:xfrm>
          <a:prstGeom prst="line">
            <a:avLst/>
          </a:prstGeom>
          <a:ln w="190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6BCD13F2-8CCD-4B01-895D-3BB7721DB335}"/>
              </a:ext>
            </a:extLst>
          </p:cNvPr>
          <p:cNvCxnSpPr>
            <a:cxnSpLocks/>
          </p:cNvCxnSpPr>
          <p:nvPr/>
        </p:nvCxnSpPr>
        <p:spPr>
          <a:xfrm>
            <a:off x="3981618" y="4747538"/>
            <a:ext cx="0" cy="1094439"/>
          </a:xfrm>
          <a:prstGeom prst="line">
            <a:avLst/>
          </a:prstGeom>
          <a:ln w="190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tangle 100">
            <a:extLst>
              <a:ext uri="{FF2B5EF4-FFF2-40B4-BE49-F238E27FC236}">
                <a16:creationId xmlns:a16="http://schemas.microsoft.com/office/drawing/2014/main" id="{1FBAA49C-B007-4EF2-9D9E-056873F82741}"/>
              </a:ext>
            </a:extLst>
          </p:cNvPr>
          <p:cNvSpPr/>
          <p:nvPr/>
        </p:nvSpPr>
        <p:spPr>
          <a:xfrm>
            <a:off x="5194343" y="5480075"/>
            <a:ext cx="1901978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Promotion Twits</a:t>
            </a:r>
          </a:p>
        </p:txBody>
      </p:sp>
    </p:spTree>
    <p:extLst>
      <p:ext uri="{BB962C8B-B14F-4D97-AF65-F5344CB8AC3E}">
        <p14:creationId xmlns:p14="http://schemas.microsoft.com/office/powerpoint/2010/main" val="39590331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7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E90029"/>
                                      </p:to>
                                    </p:animClr>
                                    <p:set>
                                      <p:cBhvr>
                                        <p:cTn id="7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9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0029"/>
                                      </p:to>
                                    </p:animClr>
                                    <p:set>
                                      <p:cBhvr>
                                        <p:cTn id="10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3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E90029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7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E90029"/>
                                      </p:to>
                                    </p:animClr>
                                    <p:set>
                                      <p:cBhvr>
                                        <p:cTn id="48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0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0029"/>
                                      </p:to>
                                    </p:animClr>
                                    <p:set>
                                      <p:cBhvr>
                                        <p:cTn id="51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2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4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E90029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3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E90029"/>
                                      </p:to>
                                    </p:animClr>
                                    <p:set>
                                      <p:cBhvr>
                                        <p:cTn id="74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6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0029"/>
                                      </p:to>
                                    </p:animClr>
                                    <p:set>
                                      <p:cBhvr>
                                        <p:cTn id="7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8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80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E90029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9" grpId="0"/>
      <p:bldP spid="92" grpId="0"/>
      <p:bldP spid="9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01424D3-B080-40DF-BBB5-22B2178D68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8B95D47-2515-468F-B1CA-2A9FEDFC02E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Keysight Data Center Infrastructure Overview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BD9E216-79BA-4BCA-B992-8E6B14051B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lement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F8E5650-DBAE-433D-8EC3-E6AD4AA1FA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5028" y="1542821"/>
            <a:ext cx="4930491" cy="4676163"/>
          </a:xfrm>
          <a:prstGeom prst="rect">
            <a:avLst/>
          </a:prstGeom>
        </p:spPr>
      </p:pic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414942CC-3991-456F-81C6-CADCEDB73795}"/>
              </a:ext>
            </a:extLst>
          </p:cNvPr>
          <p:cNvSpPr txBox="1">
            <a:spLocks/>
          </p:cNvSpPr>
          <p:nvPr/>
        </p:nvSpPr>
        <p:spPr>
          <a:xfrm>
            <a:off x="7062651" y="2437244"/>
            <a:ext cx="5103223" cy="221599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 err="1">
                <a:solidFill>
                  <a:schemeClr val="tx1"/>
                </a:solidFill>
              </a:rPr>
              <a:t>LoRa</a:t>
            </a:r>
            <a:r>
              <a:rPr lang="en-US" sz="2400" b="1" dirty="0">
                <a:solidFill>
                  <a:schemeClr val="tx1"/>
                </a:solidFill>
              </a:rPr>
              <a:t> ESP32 SX1276/SX1278 0.96 inch OLED WIFI Bluetooth CP2102 Module for Arduino</a:t>
            </a:r>
          </a:p>
          <a:p>
            <a:r>
              <a:rPr lang="en-US" sz="2400" b="1" dirty="0">
                <a:solidFill>
                  <a:schemeClr val="tx1"/>
                </a:solidFill>
              </a:rPr>
              <a:t>Hardware Cost &lt;$10.00</a:t>
            </a:r>
          </a:p>
          <a:p>
            <a:endParaRPr lang="en-US" sz="2400" b="1" dirty="0">
              <a:solidFill>
                <a:schemeClr val="tx1"/>
              </a:solidFill>
            </a:endParaRPr>
          </a:p>
          <a:p>
            <a:endParaRPr lang="en-US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44624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671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EE4P_STYLE_ID" val="39dcc26a-7131-49f4-a9eb-1c0521500c03"/>
</p:tagLst>
</file>

<file path=ppt/theme/theme1.xml><?xml version="1.0" encoding="utf-8"?>
<a:theme xmlns:a="http://schemas.openxmlformats.org/drawingml/2006/main" name="2017 Keysight Macro LIGHT">
  <a:themeElements>
    <a:clrScheme name="Keysight Light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E90029"/>
      </a:hlink>
      <a:folHlink>
        <a:srgbClr val="74001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err="1" smtClean="0">
            <a:solidFill>
              <a:schemeClr val="tx1">
                <a:lumMod val="85000"/>
                <a:lumOff val="1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EB5BD251B08F40BB7F2FE188F0205F" ma:contentTypeVersion="9" ma:contentTypeDescription="Create a new document." ma:contentTypeScope="" ma:versionID="61dee96a4509aa57110feb5d3b5d4120">
  <xsd:schema xmlns:xsd="http://www.w3.org/2001/XMLSchema" xmlns:xs="http://www.w3.org/2001/XMLSchema" xmlns:p="http://schemas.microsoft.com/office/2006/metadata/properties" xmlns:ns2="fc3730c6-8d90-4f18-bbe2-6b130ef2a07f" xmlns:ns3="5f970a23-daa7-4299-a211-3ad4cc7373c6" targetNamespace="http://schemas.microsoft.com/office/2006/metadata/properties" ma:root="true" ma:fieldsID="d1c3827dcf91b9a08131fe7815e5b19d" ns2:_="" ns3:_="">
    <xsd:import namespace="fc3730c6-8d90-4f18-bbe2-6b130ef2a07f"/>
    <xsd:import namespace="5f970a23-daa7-4299-a211-3ad4cc7373c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  <xsd:element ref="ns2:MediaServiceDateTake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3730c6-8d90-4f18-bbe2-6b130ef2a0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970a23-daa7-4299-a211-3ad4cc7373c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DA07DE3-1E9A-4B85-8E92-E9D61F260C3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C4B9BDE-414D-4712-BD68-091CB24BD38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c3730c6-8d90-4f18-bbe2-6b130ef2a07f"/>
    <ds:schemaRef ds:uri="5f970a23-daa7-4299-a211-3ad4cc7373c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E2DEEC6-8FE8-4C52-8497-CC0F1D711726}">
  <ds:schemaRefs>
    <ds:schemaRef ds:uri="http://schemas.microsoft.com/office/infopath/2007/PartnerControls"/>
    <ds:schemaRef ds:uri="fc3730c6-8d90-4f18-bbe2-6b130ef2a07f"/>
    <ds:schemaRef ds:uri="http://purl.org/dc/elements/1.1/"/>
    <ds:schemaRef ds:uri="http://schemas.microsoft.com/office/2006/documentManagement/types"/>
    <ds:schemaRef ds:uri="http://purl.org/dc/terms/"/>
    <ds:schemaRef ds:uri="5f970a23-daa7-4299-a211-3ad4cc7373c6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6883</TotalTime>
  <Words>149</Words>
  <Application>Microsoft Office PowerPoint</Application>
  <PresentationFormat>Widescreen</PresentationFormat>
  <Paragraphs>36</Paragraphs>
  <Slides>6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9" baseType="lpstr">
      <vt:lpstr>Arial</vt:lpstr>
      <vt:lpstr>Franklin Gothic Book</vt:lpstr>
      <vt:lpstr>2017 Keysight Macro LIGHT</vt:lpstr>
      <vt:lpstr>KeyCard – Dongle for  KeysightCare </vt:lpstr>
      <vt:lpstr>PowerPoint Presentation</vt:lpstr>
      <vt:lpstr>Keycard can help to address the following goals</vt:lpstr>
      <vt:lpstr>What is a KeyCard</vt:lpstr>
      <vt:lpstr>Implem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wami</dc:creator>
  <cp:lastModifiedBy>Kuifeng Hu</cp:lastModifiedBy>
  <cp:revision>2940</cp:revision>
  <dcterms:created xsi:type="dcterms:W3CDTF">2017-07-08T00:57:32Z</dcterms:created>
  <dcterms:modified xsi:type="dcterms:W3CDTF">2019-09-05T20:31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EB5BD251B08F40BB7F2FE188F0205F</vt:lpwstr>
  </property>
</Properties>
</file>